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3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embedTrueTypeFonts="1" saveSubsetFonts="1">
  <p:sldMasterIdLst>
    <p:sldMasterId id="2147483696" r:id="rId1"/>
    <p:sldMasterId id="2147490989" r:id="rId2"/>
    <p:sldMasterId id="2147491026" r:id="rId3"/>
    <p:sldMasterId id="2147491063" r:id="rId4"/>
  </p:sldMasterIdLst>
  <p:notesMasterIdLst>
    <p:notesMasterId r:id="rId21"/>
  </p:notesMasterIdLst>
  <p:handoutMasterIdLst>
    <p:handoutMasterId r:id="rId22"/>
  </p:handoutMasterIdLst>
  <p:sldIdLst>
    <p:sldId id="403" r:id="rId5"/>
    <p:sldId id="425" r:id="rId6"/>
    <p:sldId id="423" r:id="rId7"/>
    <p:sldId id="424" r:id="rId8"/>
    <p:sldId id="429" r:id="rId9"/>
    <p:sldId id="407" r:id="rId10"/>
    <p:sldId id="408" r:id="rId11"/>
    <p:sldId id="409" r:id="rId12"/>
    <p:sldId id="428" r:id="rId13"/>
    <p:sldId id="405" r:id="rId14"/>
    <p:sldId id="410" r:id="rId15"/>
    <p:sldId id="430" r:id="rId16"/>
    <p:sldId id="431" r:id="rId17"/>
    <p:sldId id="427" r:id="rId18"/>
    <p:sldId id="432" r:id="rId19"/>
    <p:sldId id="396" r:id="rId20"/>
  </p:sldIdLst>
  <p:sldSz cx="9144000" cy="5715000" type="screen16x10"/>
  <p:notesSz cx="6797675" cy="9928225"/>
  <p:embeddedFontLst>
    <p:embeddedFont>
      <p:font typeface="ＭＳ Ｐゴシック" panose="020B0600070205080204" pitchFamily="34" charset="-128"/>
      <p:regular r:id="rId23"/>
    </p:embeddedFont>
    <p:embeddedFont>
      <p:font typeface="EE Nobblee Regular" panose="02000503000000020004" pitchFamily="2" charset="0"/>
      <p:regular r:id="rId24"/>
    </p:embeddedFont>
    <p:embeddedFont>
      <p:font typeface="EE Nobblee Light" panose="02000503000000020004" pitchFamily="2" charset="0"/>
      <p:regular r:id="rId25"/>
    </p:embeddedFont>
    <p:embeddedFont>
      <p:font typeface="Rubrik Regular" panose="02000503000000020004" pitchFamily="2" charset="0"/>
      <p:regular r:id="rId26"/>
      <p:bold r:id="rId27"/>
    </p:embeddedFont>
    <p:embeddedFont>
      <p:font typeface="Helvetica 55 Roman" panose="020B0604020202020204" pitchFamily="34" charset="0"/>
      <p:regular r:id="rId28"/>
    </p:embeddedFont>
    <p:embeddedFont>
      <p:font typeface="Rubrik Light" panose="02000503000000020004" pitchFamily="2" charset="0"/>
      <p:regular r:id="rId29"/>
    </p:embeddedFont>
  </p:embeddedFontLst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69685"/>
    <a:srgbClr val="9F9FA1"/>
    <a:srgbClr val="007B85"/>
    <a:srgbClr val="EEECE1"/>
    <a:srgbClr val="F6F4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83333" autoAdjust="0"/>
  </p:normalViewPr>
  <p:slideViewPr>
    <p:cSldViewPr>
      <p:cViewPr varScale="1">
        <p:scale>
          <a:sx n="101" d="100"/>
          <a:sy n="101" d="100"/>
        </p:scale>
        <p:origin x="-192" y="-96"/>
      </p:cViewPr>
      <p:guideLst>
        <p:guide orient="horz" pos="181"/>
        <p:guide orient="horz" pos="265"/>
        <p:guide orient="horz" pos="692"/>
        <p:guide orient="horz" pos="1133"/>
        <p:guide orient="horz" pos="1214"/>
        <p:guide orient="horz" pos="1573"/>
        <p:guide orient="horz" pos="1656"/>
        <p:guide orient="horz" pos="2014"/>
        <p:guide pos="137"/>
        <p:guide pos="5625"/>
        <p:guide pos="984"/>
        <p:guide pos="1066"/>
        <p:guide pos="1911"/>
        <p:guide pos="1993"/>
        <p:guide pos="2840"/>
        <p:guide pos="2922"/>
      </p:guideLst>
    </p:cSldViewPr>
  </p:slideViewPr>
  <p:outlineViewPr>
    <p:cViewPr>
      <p:scale>
        <a:sx n="33" d="100"/>
        <a:sy n="33" d="100"/>
      </p:scale>
      <p:origin x="0" y="51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1890" y="-96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889" cy="496242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249" y="0"/>
            <a:ext cx="2946889" cy="496242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</a:defRPr>
            </a:lvl1pPr>
          </a:lstStyle>
          <a:p>
            <a:pPr>
              <a:defRPr/>
            </a:pPr>
            <a:fld id="{7167C9A2-A2D3-4874-BDD1-EF23CC6512CA}" type="datetimeFigureOut">
              <a:rPr lang="en-GB"/>
              <a:pPr>
                <a:defRPr/>
              </a:pPr>
              <a:t>20/01/201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290"/>
            <a:ext cx="2946889" cy="496242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249" y="9430290"/>
            <a:ext cx="2946889" cy="496242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</a:defRPr>
            </a:lvl1pPr>
          </a:lstStyle>
          <a:p>
            <a:pPr>
              <a:defRPr/>
            </a:pPr>
            <a:fld id="{DDB78015-2C10-44AB-A74C-BD60B7679C5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600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889" cy="496242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249" y="0"/>
            <a:ext cx="2946889" cy="496242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F81CE643-3D14-4DDE-BE5B-A5886A1C2067}" type="datetimeFigureOut">
              <a:rPr lang="en-GB"/>
              <a:pPr>
                <a:defRPr/>
              </a:pPr>
              <a:t>20/01/201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744538"/>
            <a:ext cx="59531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998" y="4715145"/>
            <a:ext cx="5435680" cy="4467871"/>
          </a:xfrm>
          <a:prstGeom prst="rect">
            <a:avLst/>
          </a:prstGeom>
        </p:spPr>
        <p:txBody>
          <a:bodyPr vert="horz" lIns="91429" tIns="45715" rIns="91429" bIns="45715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290"/>
            <a:ext cx="2946889" cy="496242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249" y="9430290"/>
            <a:ext cx="2946889" cy="496242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477F7170-6893-4076-A40D-ED13C739DB3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0774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1pPr>
    <a:lvl2pPr marL="171450" indent="-171450" algn="l" rtl="0" eaLnBrk="0" fontAlgn="base" hangingPunct="0">
      <a:spcBef>
        <a:spcPct val="30000"/>
      </a:spcBef>
      <a:spcAft>
        <a:spcPct val="0"/>
      </a:spcAft>
      <a:buFont typeface="Rubrik Regular" pitchFamily="2" charset="0"/>
      <a:buChar char="–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2pPr>
    <a:lvl3pPr marL="360363" indent="-185738" algn="l" rtl="0" eaLnBrk="0" fontAlgn="base" hangingPunct="0">
      <a:spcBef>
        <a:spcPct val="30000"/>
      </a:spcBef>
      <a:spcAft>
        <a:spcPct val="0"/>
      </a:spcAft>
      <a:buFont typeface="Rubrik Regular" pitchFamily="2" charset="0"/>
      <a:buChar char="–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3pPr>
    <a:lvl4pPr marL="531813" indent="-171450" algn="l" rtl="0" eaLnBrk="0" fontAlgn="base" hangingPunct="0">
      <a:spcBef>
        <a:spcPct val="30000"/>
      </a:spcBef>
      <a:spcAft>
        <a:spcPct val="0"/>
      </a:spcAft>
      <a:buFont typeface="Rubrik Regular" pitchFamily="2" charset="0"/>
      <a:buChar char="–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4pPr>
    <a:lvl5pPr marL="719138" indent="-184150" algn="l" rtl="0" eaLnBrk="0" fontAlgn="base" hangingPunct="0">
      <a:spcBef>
        <a:spcPct val="30000"/>
      </a:spcBef>
      <a:spcAft>
        <a:spcPct val="0"/>
      </a:spcAft>
      <a:buFont typeface="Rubrik Regular" pitchFamily="2" charset="0"/>
      <a:buChar char="–"/>
      <a:defRPr sz="1200" kern="1200">
        <a:solidFill>
          <a:schemeClr val="tx1"/>
        </a:solidFill>
        <a:latin typeface="+mn-lt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F7170-6893-4076-A40D-ED13C739DB3F}" type="slidenum">
              <a:rPr lang="en-GB" smtClean="0"/>
              <a:pPr>
                <a:defRPr/>
              </a:pPr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54685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8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0685A5C-4E9A-45DE-B215-3A5F50C9DE70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39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1B16C0-F311-4E72-8CE6-A4698AA7523B}" type="slidenum">
              <a:rPr lang="en-GB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AC467D-EF29-4A7E-ABF6-3AC931776105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46B3489-27B9-49C9-BD77-00D005F0D060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F7170-6893-4076-A40D-ED13C739DB3F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008639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F7170-6893-4076-A40D-ED13C739DB3F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56473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F7170-6893-4076-A40D-ED13C739DB3F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9237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2275" y="746125"/>
            <a:ext cx="595312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86208" indent="-302387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209552" indent="-241911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93373" indent="-241911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177192" indent="-241911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661013" indent="-241911" defTabSz="4838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3144834" indent="-241911" defTabSz="4838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628655" indent="-241911" defTabSz="4838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4112475" indent="-241911" defTabSz="48382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0F0A04F0-4CB1-446E-A3A3-5E5A605C46DA}" type="slidenum">
              <a:rPr lang="en-US" smtClean="0">
                <a:solidFill>
                  <a:prstClr val="black"/>
                </a:solidFill>
              </a:rPr>
              <a:pPr eaLnBrk="1" hangingPunct="1"/>
              <a:t>2</a:t>
            </a:fld>
            <a:endParaRPr 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F7170-6893-4076-A40D-ED13C739DB3F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2736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F7170-6893-4076-A40D-ED13C739DB3F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1332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CFD54DF-A349-4F72-AB43-938A26BC28C5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F7170-6893-4076-A40D-ED13C739DB3F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9932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F7170-6893-4076-A40D-ED13C739DB3F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49987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7F7170-6893-4076-A40D-ED13C739DB3F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62750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8BA34AF-EAE1-44C4-A103-2E0679710590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 noChangeAspect="1" noEditPoints="1"/>
          </p:cNvSpPr>
          <p:nvPr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Freeform 11"/>
          <p:cNvSpPr>
            <a:spLocks noChangeAspect="1" noEditPoints="1"/>
          </p:cNvSpPr>
          <p:nvPr userDrawn="1"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7240587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487" y="916756"/>
            <a:ext cx="7240587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17488" y="2082800"/>
            <a:ext cx="1833562" cy="350838"/>
          </a:xfrm>
        </p:spPr>
        <p:txBody>
          <a:bodyPr/>
          <a:lstStyle>
            <a:lvl1pPr algn="l">
              <a:defRPr lang="en-GB" sz="2400" kern="120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0135656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Grey Function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i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4FCD611-51BA-4BB3-AB8A-7CC54F62CCA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756760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with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7AF2B5-E432-41CC-BBA2-FCAC5755969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0575360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with Statistic - Aqu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chemeClr val="bg1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A67A68BE-1FCF-4815-9B4A-663BC19269B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5928303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with Statistic -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rgbClr val="16968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rgbClr val="169685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6813566E-23E7-4490-BF73-CE89BCA26C6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8549218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with Statistic -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chemeClr val="bg1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C73F5D4C-BDF3-4A2F-B3A4-4ABBCB73103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117532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2627313"/>
            <a:ext cx="4291012" cy="2670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4638675" y="2627313"/>
            <a:ext cx="4291013" cy="2670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1268413"/>
          </a:xfrm>
        </p:spPr>
        <p:txBody>
          <a:bodyPr/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360DD0-E779-4FD7-AF6C-ACEABB0A21C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18444349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pact Key Mess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3163888" y="290513"/>
            <a:ext cx="5780087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3163888" y="290513"/>
            <a:ext cx="5780087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3888" y="420689"/>
            <a:ext cx="5765800" cy="6778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5"/>
            <a:ext cx="5765800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2816225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26DEDC-7CFA-4169-8B77-D06D7176EA7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0763616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A6415F-C41F-4D37-8E38-D69A0504AFF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6525999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DC57A4-3810-4450-9EBA-0BB935B4D44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5405407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488" y="2627313"/>
            <a:ext cx="4291012" cy="2670175"/>
          </a:xfrm>
        </p:spPr>
        <p:txBody>
          <a:bodyPr anchor="b"/>
          <a:lstStyle>
            <a:lvl1pPr>
              <a:defRPr sz="1200" b="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FF0A8FF8-AA7D-4A19-8C9E-0EF034A7E9E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233313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 noChangeAspect="1" noEditPoints="1"/>
          </p:cNvSpPr>
          <p:nvPr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Freeform 11"/>
          <p:cNvSpPr>
            <a:spLocks noChangeAspect="1" noEditPoints="1"/>
          </p:cNvSpPr>
          <p:nvPr userDrawn="1"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7240587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487" y="916756"/>
            <a:ext cx="7240587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17488" y="2082800"/>
            <a:ext cx="1833562" cy="350838"/>
          </a:xfrm>
        </p:spPr>
        <p:txBody>
          <a:bodyPr/>
          <a:lstStyle>
            <a:lvl1pPr algn="l">
              <a:defRPr lang="en-GB" sz="2400" kern="1200">
                <a:solidFill>
                  <a:prstClr val="white"/>
                </a:solidFill>
                <a:latin typeface="EE Nobblee Light" pitchFamily="2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02384238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i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EFF65C4-9FF9-45AA-977F-D018ECC42D2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3220562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Func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 noChangeAspect="1" noEditPoints="1"/>
          </p:cNvSpPr>
          <p:nvPr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Freeform 11"/>
          <p:cNvSpPr>
            <a:spLocks noChangeAspect="1" noEditPoints="1"/>
          </p:cNvSpPr>
          <p:nvPr userDrawn="1"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7240587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487" y="916756"/>
            <a:ext cx="7240587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2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17488" y="2082800"/>
            <a:ext cx="1833562" cy="350838"/>
          </a:xfrm>
        </p:spPr>
        <p:txBody>
          <a:bodyPr/>
          <a:lstStyle>
            <a:lvl1pPr algn="l">
              <a:defRPr lang="en-GB" sz="2400" kern="1200">
                <a:solidFill>
                  <a:srgbClr val="34A1A0"/>
                </a:solidFill>
                <a:latin typeface="EE Nobblee Light" pitchFamily="2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90425610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66C8720C-9A31-49CD-B78D-6B13768AD5D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059883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Aqua Function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D7DC46FE-CA93-44C4-AAC2-50617560A8C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9202783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rgbClr val="169685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62BC63C7-7373-4B9E-8FF4-13556DEEFF3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0139636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Yellow Function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rgbClr val="169685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F75662B9-D34B-4809-A699-07E8FEDED29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2895916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Iv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E0B798C2-1579-41EB-BB39-728EBFCB038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4031218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Ivory Func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9A7A9AFC-8B07-45CF-8A8B-AFCB7ED25E5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3495899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EBABCABB-F96C-4B6A-B560-B2D5FCA173B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6849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Grey Function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i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FE9B67FB-F162-4D97-96A3-78084BACB00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3932305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i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1CCA409E-6380-4C42-B374-D15EB8B8C3C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1640496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D21B90C-3955-43B0-A866-0894AA1F434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9805297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714398CC-ECF2-4A2E-B332-B43849C03C1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472295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488" y="420689"/>
            <a:ext cx="8712200" cy="6778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B16288F7-3EE6-4670-AB80-11CCF32C9D5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3794712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488" y="420689"/>
            <a:ext cx="8712200" cy="67786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AF99245C-D272-42BC-AE62-5C604EBD954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6743662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with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371792"/>
            <a:ext cx="8712200" cy="1722010"/>
          </a:xfrm>
        </p:spPr>
        <p:txBody>
          <a:bodyPr>
            <a:normAutofit/>
          </a:bodyPr>
          <a:lstStyle>
            <a:lvl1pPr>
              <a:defRPr lang="en-GB" sz="3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AA3E2E8D-6399-46D9-ACE4-1103822DC8F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8280341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with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371792"/>
            <a:ext cx="8712200" cy="1722010"/>
          </a:xfrm>
        </p:spPr>
        <p:txBody>
          <a:bodyPr>
            <a:normAutofit/>
          </a:bodyPr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1169FF84-7506-4C21-B2CF-7BCBF7A5213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4407669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200" indent="-457200">
              <a:buFont typeface="+mj-lt"/>
              <a:buAutoNum type="arabicPeriod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434D21-D755-4B68-B1E3-DAFE3361457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5804223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E27CD8-C0E9-4805-BF31-3F5B3CB3C2A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3887839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5"/>
            <a:ext cx="4291012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8675" y="1228725"/>
            <a:ext cx="4291013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B43BC5-546A-4D5F-BDC2-B969EA8367C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3131118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5"/>
            <a:ext cx="2816225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5"/>
            <a:ext cx="2820986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6111875" y="1228725"/>
            <a:ext cx="2817813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C3A7B5-D776-4162-812D-FDFC80F8223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0910001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6"/>
            <a:ext cx="2816225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6"/>
            <a:ext cx="2820986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6111875" y="1228726"/>
            <a:ext cx="2817813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6"/>
          </p:nvPr>
        </p:nvSpPr>
        <p:spPr>
          <a:xfrm>
            <a:off x="217488" y="3325813"/>
            <a:ext cx="2816225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7"/>
          </p:nvPr>
        </p:nvSpPr>
        <p:spPr>
          <a:xfrm>
            <a:off x="3163889" y="3325813"/>
            <a:ext cx="2820986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111875" y="3325813"/>
            <a:ext cx="2817813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265D3F-8B3D-4FE5-89C6-B56A43B7307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9666888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488" y="420689"/>
            <a:ext cx="8712200" cy="6778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F2C361D-5272-42A3-9526-C1F512B7473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9132969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488" y="1228725"/>
            <a:ext cx="5767387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FADF0A-06A3-4ACD-A3F6-368BE1A7E75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371622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2301" y="1228725"/>
            <a:ext cx="5767387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B4982-6F24-43A5-9D4A-B6E8CED9A0C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4257013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40CEED-5CD8-4682-A7D5-33875FA1783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1872409"/>
      </p:ext>
    </p:extLst>
  </p:cSld>
  <p:clrMapOvr>
    <a:masterClrMapping/>
  </p:clrMapOvr>
  <p:transition spd="med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- Aqu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CFAE51CF-93A7-403F-B255-8A042A7409B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7340391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-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rgbClr val="16968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6A7AC36B-C06F-4F67-B139-F6436F58A04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2268325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-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4604D962-9311-4E03-88A3-B82506FD1DB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0431885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with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E9FBD1-1EC6-4F23-B441-571731B32A9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0361359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with Statistic - Aqu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chemeClr val="bg1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5A2E0811-7135-45E8-B138-EDD729455D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2655952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with Statistic -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rgbClr val="16968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rgbClr val="169685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9539819A-252B-41EC-896A-A9DE9AE50BD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3978880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with Statistic -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chemeClr val="bg1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2D7AEF08-B7E2-4234-9B3D-969A222DCFD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1238999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488" y="420689"/>
            <a:ext cx="8712200" cy="67786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F80F330-EC59-4113-93BF-944D10042DA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5829176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2627313"/>
            <a:ext cx="4291012" cy="2670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4638675" y="2627313"/>
            <a:ext cx="4291013" cy="2670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1268413"/>
          </a:xfrm>
        </p:spPr>
        <p:txBody>
          <a:bodyPr/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CFADE1-4E4C-4C80-B8E9-DEB8BDD502B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0737389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pact Key Mess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3163888" y="290513"/>
            <a:ext cx="5780087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3163888" y="290513"/>
            <a:ext cx="5780087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3888" y="420689"/>
            <a:ext cx="5765800" cy="6778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5"/>
            <a:ext cx="5765800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2816225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8D4BC9-92A9-4651-AD5B-5D3B82C8132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9426860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2BA326-5880-494E-8716-CC0E7D4D045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3759636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BE7D7E-84D8-426C-B0FC-93F631BACAF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4227272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488" y="2627313"/>
            <a:ext cx="4291012" cy="2670175"/>
          </a:xfrm>
        </p:spPr>
        <p:txBody>
          <a:bodyPr anchor="b"/>
          <a:lstStyle>
            <a:lvl1pPr>
              <a:defRPr sz="1200" b="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4238E596-1BB0-493A-800E-27958001B43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5881362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with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371792"/>
            <a:ext cx="8712200" cy="1722010"/>
          </a:xfrm>
        </p:spPr>
        <p:txBody>
          <a:bodyPr>
            <a:normAutofit/>
          </a:bodyPr>
          <a:lstStyle>
            <a:lvl1pPr>
              <a:defRPr lang="en-GB" sz="3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DBAC48E-0745-47F3-86FE-68673E55FC1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0179790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with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371792"/>
            <a:ext cx="8712200" cy="1722010"/>
          </a:xfrm>
        </p:spPr>
        <p:txBody>
          <a:bodyPr>
            <a:normAutofit/>
          </a:bodyPr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033D917-68D6-4756-AEA6-75149BDD450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3984945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200" indent="-457200">
              <a:buFont typeface="+mj-lt"/>
              <a:buAutoNum type="arabicPeriod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AAB70A-021B-4D5F-BBEF-3113D39593B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9029411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45AE1-8EBD-46BF-8F8D-49BCF160565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978256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5"/>
            <a:ext cx="4291012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8675" y="1228725"/>
            <a:ext cx="4291013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DDC911-5E36-409C-AE1B-2846775788C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013811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Func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 noChangeAspect="1" noEditPoints="1"/>
          </p:cNvSpPr>
          <p:nvPr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Freeform 11"/>
          <p:cNvSpPr>
            <a:spLocks noChangeAspect="1" noEditPoints="1"/>
          </p:cNvSpPr>
          <p:nvPr userDrawn="1"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7240587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487" y="916756"/>
            <a:ext cx="7240587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2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17488" y="2082800"/>
            <a:ext cx="1833562" cy="350838"/>
          </a:xfrm>
        </p:spPr>
        <p:txBody>
          <a:bodyPr/>
          <a:lstStyle>
            <a:lvl1pPr algn="l">
              <a:defRPr lang="en-GB" sz="2400" kern="1200">
                <a:solidFill>
                  <a:schemeClr val="tx2"/>
                </a:solidFill>
                <a:latin typeface="EE Nobblee Light" pitchFamily="2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17722859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5"/>
            <a:ext cx="2816225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5"/>
            <a:ext cx="2820986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6111875" y="1228725"/>
            <a:ext cx="2817813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F8A63F-2C46-4AE9-8BDC-EE0A998D165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9758157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6"/>
            <a:ext cx="2816225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6"/>
            <a:ext cx="2820986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6111875" y="1228726"/>
            <a:ext cx="2817813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6"/>
          </p:nvPr>
        </p:nvSpPr>
        <p:spPr>
          <a:xfrm>
            <a:off x="217488" y="3325813"/>
            <a:ext cx="2816225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7"/>
          </p:nvPr>
        </p:nvSpPr>
        <p:spPr>
          <a:xfrm>
            <a:off x="3163889" y="3325813"/>
            <a:ext cx="2820986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111875" y="3325813"/>
            <a:ext cx="2817813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B13B94-BD63-4B5E-ADEC-D2FDAD1F459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204679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488" y="1228725"/>
            <a:ext cx="5767387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3F9D7B-A532-44E7-8A3D-C4E67354B7A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1903077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2301" y="1228725"/>
            <a:ext cx="5767387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7F60EF-8E3D-4187-8FE6-6F344E25843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4195580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A5F031-632C-40A0-A1E7-CA56CCDF700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3986585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- Aqu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E440D77-6E65-43EE-A0A0-299E17E18AF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9027843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-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rgbClr val="16968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C4F01B3-4EAD-4ED5-8EC6-1E52FB37D7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0058852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-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0A6A264-8BC9-4967-9C7E-FAE80CB4C62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0503808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with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B7E4BB-3F46-4DB7-AE42-2F2CD15CE22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409295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with Statistic - Aqu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chemeClr val="bg1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66918C5-F4D6-40DA-98D3-CC95A883364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5477237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6BBB6C2-25DF-4B72-A49E-D9B5AF74368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384099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with Statistic -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rgbClr val="16968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rgbClr val="169685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C6EF1D8-60B2-4094-9DF9-0CBB80B974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1125081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with Statistic -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chemeClr val="bg1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A35C29-10A1-46C9-9D34-365C48D5A39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053489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2627313"/>
            <a:ext cx="4291012" cy="2670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4638675" y="2627313"/>
            <a:ext cx="4291013" cy="2670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1268413"/>
          </a:xfrm>
        </p:spPr>
        <p:txBody>
          <a:bodyPr/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23C9CF-A1EA-490B-A841-F73535F0C7E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4950028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pact Key Mess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3163888" y="290513"/>
            <a:ext cx="5780087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3163888" y="290513"/>
            <a:ext cx="5780087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3888" y="420689"/>
            <a:ext cx="5765800" cy="6778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5"/>
            <a:ext cx="5765800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2816225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27BF79-04C4-4A42-837F-78E4C3334A3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0200820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AAAFDC-0C15-4583-A2BF-E76268CA7D0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4127284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1A1EDD-F899-46AC-8D68-5020E5513BC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307619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488" y="2627313"/>
            <a:ext cx="4291012" cy="2670175"/>
          </a:xfrm>
        </p:spPr>
        <p:txBody>
          <a:bodyPr anchor="b"/>
          <a:lstStyle>
            <a:lvl1pPr>
              <a:defRPr sz="1200" b="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2591538-1D11-4705-9B97-7FD2206AC24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2416214"/>
      </p:ext>
    </p:extLst>
  </p:cSld>
  <p:clrMapOvr>
    <a:masterClrMapping/>
  </p:clrMapOvr>
  <p:transition spd="med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 noChangeAspect="1" noEditPoints="1"/>
          </p:cNvSpPr>
          <p:nvPr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Freeform 11"/>
          <p:cNvSpPr>
            <a:spLocks noChangeAspect="1" noEditPoints="1"/>
          </p:cNvSpPr>
          <p:nvPr userDrawn="1"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7240587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487" y="916756"/>
            <a:ext cx="7240587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17488" y="2082800"/>
            <a:ext cx="1833562" cy="350838"/>
          </a:xfrm>
        </p:spPr>
        <p:txBody>
          <a:bodyPr/>
          <a:lstStyle>
            <a:lvl1pPr algn="l">
              <a:defRPr lang="en-GB" sz="2400" kern="1200">
                <a:solidFill>
                  <a:prstClr val="white"/>
                </a:solidFill>
                <a:latin typeface="EE Nobblee Light" pitchFamily="2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732308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Func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 noChangeAspect="1" noEditPoints="1"/>
          </p:cNvSpPr>
          <p:nvPr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Freeform 11"/>
          <p:cNvSpPr>
            <a:spLocks noChangeAspect="1" noEditPoints="1"/>
          </p:cNvSpPr>
          <p:nvPr userDrawn="1"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7240587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487" y="916756"/>
            <a:ext cx="7240587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2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17488" y="2082800"/>
            <a:ext cx="1833562" cy="350838"/>
          </a:xfrm>
        </p:spPr>
        <p:txBody>
          <a:bodyPr/>
          <a:lstStyle>
            <a:lvl1pPr algn="l">
              <a:defRPr lang="en-GB" sz="2400" kern="1200">
                <a:solidFill>
                  <a:srgbClr val="34A1A0"/>
                </a:solidFill>
                <a:latin typeface="EE Nobblee Light" pitchFamily="2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895634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77D1E536-081A-47CD-BB47-D0BC33D76EA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24398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Aqua Function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F0C8EC7-3EF9-49E3-9319-5DB3BD465AD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8098435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Aqua Function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7C092A51-A18B-4785-8E57-406ECB85559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61083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rgbClr val="169685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B3DB2183-1BB8-4A9C-89D1-E4EF9BBAFCB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953750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Yellow Function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rgbClr val="169685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E58E478D-4C10-4D48-9FB5-FDC829DAB2A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2297550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Iv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9AADBE6A-307F-4A12-BE42-C674CC9A640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78123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Ivory Func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CBBD03E9-F765-4141-BA07-11780001248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13354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D4CFFDD7-5382-4E2D-BA9C-ABBF9CC733C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8638931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Grey Function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i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AE2C2204-5107-4348-901A-4A2CC023D0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2314861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i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7917DBF3-62B5-429D-B08D-2E8331E1110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831943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21466814-BCB1-4273-B0A1-F38E3EC74EF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9100146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488" y="420689"/>
            <a:ext cx="8712200" cy="6778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3460BBC6-9B04-47C8-8074-8FF4E2A20E6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7673372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rgbClr val="169685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850AE2F-96A8-4941-8EE6-95994BA2731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3849883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488" y="420689"/>
            <a:ext cx="8712200" cy="67786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5B6B449E-B233-480A-8BD6-5A9BB69E34A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6304621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with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371792"/>
            <a:ext cx="8712200" cy="1722010"/>
          </a:xfrm>
        </p:spPr>
        <p:txBody>
          <a:bodyPr>
            <a:normAutofit/>
          </a:bodyPr>
          <a:lstStyle>
            <a:lvl1pPr>
              <a:defRPr lang="en-GB" sz="3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701125F1-DB08-4EDB-873A-D1B6060E7AD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7593795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with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371792"/>
            <a:ext cx="8712200" cy="1722010"/>
          </a:xfrm>
        </p:spPr>
        <p:txBody>
          <a:bodyPr>
            <a:normAutofit/>
          </a:bodyPr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29ED5C58-D363-4D5D-9791-50E90321834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6983489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200" indent="-457200">
              <a:buFont typeface="+mj-lt"/>
              <a:buAutoNum type="arabicPeriod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4041B5-083A-46FD-801B-1E46EF0D548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188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FA6E01-DE4D-4FC9-A78C-7037D481677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46043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5"/>
            <a:ext cx="4291012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8675" y="1228725"/>
            <a:ext cx="4291013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59C2C-0081-4E81-910D-2F37D87CC83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005560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5"/>
            <a:ext cx="2816225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5"/>
            <a:ext cx="2820986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6111875" y="1228725"/>
            <a:ext cx="2817813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89C950-FDC2-4FA3-A831-5D6F217B71B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867317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6"/>
            <a:ext cx="2816225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6"/>
            <a:ext cx="2820986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6111875" y="1228726"/>
            <a:ext cx="2817813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6"/>
          </p:nvPr>
        </p:nvSpPr>
        <p:spPr>
          <a:xfrm>
            <a:off x="217488" y="3325813"/>
            <a:ext cx="2816225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7"/>
          </p:nvPr>
        </p:nvSpPr>
        <p:spPr>
          <a:xfrm>
            <a:off x="3163889" y="3325813"/>
            <a:ext cx="2820986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111875" y="3325813"/>
            <a:ext cx="2817813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99C724-07E4-4919-B951-C67DB8759DB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1986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488" y="1228725"/>
            <a:ext cx="5767387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F76882-CD3F-42EA-827C-17785392492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5823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2301" y="1228725"/>
            <a:ext cx="5767387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1DA9F8-0C28-4EE0-9FC2-DE46560FEDB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1126054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Yellow Function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rgbClr val="169685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0BE275AF-519A-4757-927E-675B13101A5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3740583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0988D8-4611-4EA0-AA18-81FAE23810B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5823844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- Aqu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269F5A38-F8C4-4760-BB3D-EBF294533D3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8852889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-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rgbClr val="16968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3DBC0247-BBC9-4809-8740-B88F6C719C3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3869202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-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823C24CE-A8EC-482F-90C7-C17ACB23E84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8590301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with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164B98-959A-4165-AE52-65DF3D49E9F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3925108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with Statistic - Aqu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chemeClr val="bg1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393C6FF0-0C5D-4DD6-A77F-E8848F1A9CA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687789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with Statistic -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rgbClr val="16968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rgbClr val="169685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132F999D-7FC7-4F40-8891-33F37930B5C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9666183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with Statistic -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163889" y="3325812"/>
            <a:ext cx="5980112" cy="2389187"/>
          </a:xfrm>
        </p:spPr>
        <p:txBody>
          <a:bodyPr anchor="b"/>
          <a:lstStyle>
            <a:lvl1pPr algn="r">
              <a:lnSpc>
                <a:spcPct val="70000"/>
              </a:lnSpc>
              <a:defRPr sz="16600" b="0">
                <a:solidFill>
                  <a:schemeClr val="bg1"/>
                </a:solidFill>
                <a:latin typeface="Rubrik Light" pitchFamily="2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983F677A-DF1B-4DA0-AE07-FDB3C87562A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941844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2627313"/>
            <a:ext cx="4291012" cy="2670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4638675" y="2627313"/>
            <a:ext cx="4291013" cy="26701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1268413"/>
          </a:xfrm>
        </p:spPr>
        <p:txBody>
          <a:bodyPr/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360799-579A-4150-A6C8-2506C5A2CB5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3929638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pact Key Mess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3163888" y="290513"/>
            <a:ext cx="5780087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3163888" y="290513"/>
            <a:ext cx="5780087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63888" y="420689"/>
            <a:ext cx="5765800" cy="6778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5"/>
            <a:ext cx="5765800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2816225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CA06B5-8D0E-4C91-B694-C0AE63A342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6758910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Iv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BEDE7A2-B5FC-4B12-BA3F-9FB39E8B529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0215526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38E36D-86CA-4803-BAB8-69BF888AD85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6834994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FBC2E-AA50-4F73-B797-434D5E2F357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4502487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17488" y="2627313"/>
            <a:ext cx="4291012" cy="2670175"/>
          </a:xfrm>
        </p:spPr>
        <p:txBody>
          <a:bodyPr anchor="b"/>
          <a:lstStyle>
            <a:lvl1pPr>
              <a:defRPr sz="1200" b="0">
                <a:solidFill>
                  <a:schemeClr val="bg1"/>
                </a:solidFill>
                <a:latin typeface="+mn-lt"/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4532629F-EFF6-4B8B-BDFC-2A5E91B41E7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4058411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 noChangeAspect="1" noEditPoints="1"/>
          </p:cNvSpPr>
          <p:nvPr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Freeform 11"/>
          <p:cNvSpPr>
            <a:spLocks noChangeAspect="1" noEditPoints="1"/>
          </p:cNvSpPr>
          <p:nvPr userDrawn="1"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7240587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487" y="916756"/>
            <a:ext cx="7240587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17488" y="2082800"/>
            <a:ext cx="1833562" cy="350838"/>
          </a:xfrm>
        </p:spPr>
        <p:txBody>
          <a:bodyPr/>
          <a:lstStyle>
            <a:lvl1pPr algn="l">
              <a:defRPr lang="en-GB" sz="2400" kern="1200">
                <a:solidFill>
                  <a:prstClr val="white"/>
                </a:solidFill>
                <a:latin typeface="EE Nobblee Light" pitchFamily="2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9114208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Func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5"/>
          <p:cNvSpPr>
            <a:spLocks noChangeAspect="1" noEditPoints="1"/>
          </p:cNvSpPr>
          <p:nvPr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" name="Freeform 11"/>
          <p:cNvSpPr>
            <a:spLocks noChangeAspect="1" noEditPoints="1"/>
          </p:cNvSpPr>
          <p:nvPr userDrawn="1"/>
        </p:nvSpPr>
        <p:spPr bwMode="auto">
          <a:xfrm>
            <a:off x="8266113" y="292100"/>
            <a:ext cx="655637" cy="1152525"/>
          </a:xfrm>
          <a:custGeom>
            <a:avLst/>
            <a:gdLst>
              <a:gd name="T0" fmla="*/ 2147483647 w 645"/>
              <a:gd name="T1" fmla="*/ 2147483647 h 1134"/>
              <a:gd name="T2" fmla="*/ 2147483647 w 645"/>
              <a:gd name="T3" fmla="*/ 2147483647 h 1134"/>
              <a:gd name="T4" fmla="*/ 0 w 645"/>
              <a:gd name="T5" fmla="*/ 2147483647 h 1134"/>
              <a:gd name="T6" fmla="*/ 2147483647 w 645"/>
              <a:gd name="T7" fmla="*/ 2147483647 h 1134"/>
              <a:gd name="T8" fmla="*/ 2147483647 w 645"/>
              <a:gd name="T9" fmla="*/ 2147483647 h 1134"/>
              <a:gd name="T10" fmla="*/ 2147483647 w 645"/>
              <a:gd name="T11" fmla="*/ 2147483647 h 1134"/>
              <a:gd name="T12" fmla="*/ 2147483647 w 645"/>
              <a:gd name="T13" fmla="*/ 2147483647 h 1134"/>
              <a:gd name="T14" fmla="*/ 2147483647 w 645"/>
              <a:gd name="T15" fmla="*/ 2147483647 h 1134"/>
              <a:gd name="T16" fmla="*/ 2147483647 w 645"/>
              <a:gd name="T17" fmla="*/ 2147483647 h 1134"/>
              <a:gd name="T18" fmla="*/ 2147483647 w 645"/>
              <a:gd name="T19" fmla="*/ 2147483647 h 1134"/>
              <a:gd name="T20" fmla="*/ 2147483647 w 645"/>
              <a:gd name="T21" fmla="*/ 2147483647 h 1134"/>
              <a:gd name="T22" fmla="*/ 2147483647 w 645"/>
              <a:gd name="T23" fmla="*/ 2147483647 h 1134"/>
              <a:gd name="T24" fmla="*/ 2147483647 w 645"/>
              <a:gd name="T25" fmla="*/ 2147483647 h 1134"/>
              <a:gd name="T26" fmla="*/ 2147483647 w 645"/>
              <a:gd name="T27" fmla="*/ 2147483647 h 1134"/>
              <a:gd name="T28" fmla="*/ 2147483647 w 645"/>
              <a:gd name="T29" fmla="*/ 2147483647 h 1134"/>
              <a:gd name="T30" fmla="*/ 2147483647 w 645"/>
              <a:gd name="T31" fmla="*/ 2147483647 h 1134"/>
              <a:gd name="T32" fmla="*/ 2147483647 w 645"/>
              <a:gd name="T33" fmla="*/ 2147483647 h 1134"/>
              <a:gd name="T34" fmla="*/ 2147483647 w 645"/>
              <a:gd name="T35" fmla="*/ 2147483647 h 1134"/>
              <a:gd name="T36" fmla="*/ 2147483647 w 645"/>
              <a:gd name="T37" fmla="*/ 2147483647 h 1134"/>
              <a:gd name="T38" fmla="*/ 2147483647 w 645"/>
              <a:gd name="T39" fmla="*/ 2147483647 h 1134"/>
              <a:gd name="T40" fmla="*/ 2147483647 w 645"/>
              <a:gd name="T41" fmla="*/ 2147483647 h 1134"/>
              <a:gd name="T42" fmla="*/ 2147483647 w 645"/>
              <a:gd name="T43" fmla="*/ 2147483647 h 1134"/>
              <a:gd name="T44" fmla="*/ 2147483647 w 645"/>
              <a:gd name="T45" fmla="*/ 2147483647 h 1134"/>
              <a:gd name="T46" fmla="*/ 2147483647 w 645"/>
              <a:gd name="T47" fmla="*/ 2147483647 h 1134"/>
              <a:gd name="T48" fmla="*/ 2147483647 w 645"/>
              <a:gd name="T49" fmla="*/ 2147483647 h 1134"/>
              <a:gd name="T50" fmla="*/ 2147483647 w 645"/>
              <a:gd name="T51" fmla="*/ 2147483647 h 1134"/>
              <a:gd name="T52" fmla="*/ 2147483647 w 645"/>
              <a:gd name="T53" fmla="*/ 2147483647 h 1134"/>
              <a:gd name="T54" fmla="*/ 2147483647 w 645"/>
              <a:gd name="T55" fmla="*/ 2147483647 h 1134"/>
              <a:gd name="T56" fmla="*/ 2147483647 w 645"/>
              <a:gd name="T57" fmla="*/ 2147483647 h 1134"/>
              <a:gd name="T58" fmla="*/ 2147483647 w 645"/>
              <a:gd name="T59" fmla="*/ 2147483647 h 1134"/>
              <a:gd name="T60" fmla="*/ 2147483647 w 645"/>
              <a:gd name="T61" fmla="*/ 2147483647 h 1134"/>
              <a:gd name="T62" fmla="*/ 2147483647 w 645"/>
              <a:gd name="T63" fmla="*/ 2147483647 h 1134"/>
              <a:gd name="T64" fmla="*/ 2147483647 w 645"/>
              <a:gd name="T65" fmla="*/ 2147483647 h 1134"/>
              <a:gd name="T66" fmla="*/ 2147483647 w 645"/>
              <a:gd name="T67" fmla="*/ 2147483647 h 1134"/>
              <a:gd name="T68" fmla="*/ 2147483647 w 645"/>
              <a:gd name="T69" fmla="*/ 2147483647 h 1134"/>
              <a:gd name="T70" fmla="*/ 2147483647 w 645"/>
              <a:gd name="T71" fmla="*/ 2147483647 h 1134"/>
              <a:gd name="T72" fmla="*/ 2147483647 w 645"/>
              <a:gd name="T73" fmla="*/ 2147483647 h 1134"/>
              <a:gd name="T74" fmla="*/ 2147483647 w 645"/>
              <a:gd name="T75" fmla="*/ 2147483647 h 1134"/>
              <a:gd name="T76" fmla="*/ 2147483647 w 645"/>
              <a:gd name="T77" fmla="*/ 2147483647 h 1134"/>
              <a:gd name="T78" fmla="*/ 2147483647 w 645"/>
              <a:gd name="T79" fmla="*/ 2147483647 h 1134"/>
              <a:gd name="T80" fmla="*/ 2147483647 w 645"/>
              <a:gd name="T81" fmla="*/ 2147483647 h 1134"/>
              <a:gd name="T82" fmla="*/ 2147483647 w 645"/>
              <a:gd name="T83" fmla="*/ 2147483647 h 1134"/>
              <a:gd name="T84" fmla="*/ 2147483647 w 645"/>
              <a:gd name="T85" fmla="*/ 2147483647 h 1134"/>
              <a:gd name="T86" fmla="*/ 2147483647 w 645"/>
              <a:gd name="T87" fmla="*/ 2147483647 h 1134"/>
              <a:gd name="T88" fmla="*/ 2147483647 w 645"/>
              <a:gd name="T89" fmla="*/ 2147483647 h 1134"/>
              <a:gd name="T90" fmla="*/ 2147483647 w 645"/>
              <a:gd name="T91" fmla="*/ 2147483647 h 1134"/>
              <a:gd name="T92" fmla="*/ 2147483647 w 645"/>
              <a:gd name="T93" fmla="*/ 2147483647 h 1134"/>
              <a:gd name="T94" fmla="*/ 2147483647 w 645"/>
              <a:gd name="T95" fmla="*/ 2147483647 h 113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645" h="1134">
                <a:moveTo>
                  <a:pt x="546" y="578"/>
                </a:moveTo>
                <a:cubicBezTo>
                  <a:pt x="606" y="639"/>
                  <a:pt x="645" y="720"/>
                  <a:pt x="645" y="811"/>
                </a:cubicBezTo>
                <a:cubicBezTo>
                  <a:pt x="645" y="990"/>
                  <a:pt x="501" y="1134"/>
                  <a:pt x="323" y="1134"/>
                </a:cubicBezTo>
                <a:cubicBezTo>
                  <a:pt x="145" y="1134"/>
                  <a:pt x="0" y="990"/>
                  <a:pt x="0" y="811"/>
                </a:cubicBezTo>
                <a:cubicBezTo>
                  <a:pt x="0" y="720"/>
                  <a:pt x="40" y="639"/>
                  <a:pt x="99" y="578"/>
                </a:cubicBezTo>
                <a:cubicBezTo>
                  <a:pt x="104" y="574"/>
                  <a:pt x="107" y="572"/>
                  <a:pt x="107" y="567"/>
                </a:cubicBezTo>
                <a:cubicBezTo>
                  <a:pt x="107" y="563"/>
                  <a:pt x="104" y="560"/>
                  <a:pt x="99" y="556"/>
                </a:cubicBezTo>
                <a:cubicBezTo>
                  <a:pt x="99" y="556"/>
                  <a:pt x="99" y="556"/>
                  <a:pt x="99" y="556"/>
                </a:cubicBezTo>
                <a:cubicBezTo>
                  <a:pt x="38" y="497"/>
                  <a:pt x="0" y="414"/>
                  <a:pt x="0" y="323"/>
                </a:cubicBezTo>
                <a:cubicBezTo>
                  <a:pt x="0" y="145"/>
                  <a:pt x="145" y="0"/>
                  <a:pt x="323" y="0"/>
                </a:cubicBezTo>
                <a:cubicBezTo>
                  <a:pt x="501" y="0"/>
                  <a:pt x="645" y="145"/>
                  <a:pt x="645" y="323"/>
                </a:cubicBezTo>
                <a:cubicBezTo>
                  <a:pt x="645" y="414"/>
                  <a:pt x="607" y="497"/>
                  <a:pt x="546" y="556"/>
                </a:cubicBezTo>
                <a:cubicBezTo>
                  <a:pt x="546" y="556"/>
                  <a:pt x="546" y="556"/>
                  <a:pt x="546" y="556"/>
                </a:cubicBezTo>
                <a:cubicBezTo>
                  <a:pt x="542" y="560"/>
                  <a:pt x="539" y="563"/>
                  <a:pt x="539" y="567"/>
                </a:cubicBezTo>
                <a:cubicBezTo>
                  <a:pt x="539" y="572"/>
                  <a:pt x="542" y="574"/>
                  <a:pt x="546" y="578"/>
                </a:cubicBezTo>
                <a:close/>
                <a:moveTo>
                  <a:pt x="390" y="426"/>
                </a:moveTo>
                <a:cubicBezTo>
                  <a:pt x="380" y="426"/>
                  <a:pt x="371" y="432"/>
                  <a:pt x="367" y="441"/>
                </a:cubicBezTo>
                <a:cubicBezTo>
                  <a:pt x="362" y="432"/>
                  <a:pt x="353" y="426"/>
                  <a:pt x="343" y="426"/>
                </a:cubicBezTo>
                <a:cubicBezTo>
                  <a:pt x="332" y="426"/>
                  <a:pt x="323" y="432"/>
                  <a:pt x="319" y="441"/>
                </a:cubicBezTo>
                <a:cubicBezTo>
                  <a:pt x="315" y="432"/>
                  <a:pt x="306" y="426"/>
                  <a:pt x="295" y="426"/>
                </a:cubicBezTo>
                <a:cubicBezTo>
                  <a:pt x="286" y="426"/>
                  <a:pt x="278" y="430"/>
                  <a:pt x="273" y="437"/>
                </a:cubicBezTo>
                <a:cubicBezTo>
                  <a:pt x="271" y="435"/>
                  <a:pt x="269" y="432"/>
                  <a:pt x="266" y="430"/>
                </a:cubicBezTo>
                <a:cubicBezTo>
                  <a:pt x="273" y="426"/>
                  <a:pt x="278" y="418"/>
                  <a:pt x="278" y="409"/>
                </a:cubicBezTo>
                <a:cubicBezTo>
                  <a:pt x="278" y="400"/>
                  <a:pt x="273" y="392"/>
                  <a:pt x="266" y="387"/>
                </a:cubicBezTo>
                <a:cubicBezTo>
                  <a:pt x="273" y="382"/>
                  <a:pt x="278" y="375"/>
                  <a:pt x="278" y="366"/>
                </a:cubicBezTo>
                <a:cubicBezTo>
                  <a:pt x="278" y="357"/>
                  <a:pt x="273" y="349"/>
                  <a:pt x="266" y="344"/>
                </a:cubicBezTo>
                <a:cubicBezTo>
                  <a:pt x="269" y="343"/>
                  <a:pt x="270" y="341"/>
                  <a:pt x="272" y="339"/>
                </a:cubicBezTo>
                <a:cubicBezTo>
                  <a:pt x="277" y="345"/>
                  <a:pt x="284" y="349"/>
                  <a:pt x="292" y="349"/>
                </a:cubicBezTo>
                <a:cubicBezTo>
                  <a:pt x="302" y="349"/>
                  <a:pt x="310" y="344"/>
                  <a:pt x="315" y="336"/>
                </a:cubicBezTo>
                <a:cubicBezTo>
                  <a:pt x="320" y="344"/>
                  <a:pt x="328" y="349"/>
                  <a:pt x="337" y="349"/>
                </a:cubicBezTo>
                <a:cubicBezTo>
                  <a:pt x="347" y="349"/>
                  <a:pt x="355" y="344"/>
                  <a:pt x="360" y="336"/>
                </a:cubicBezTo>
                <a:cubicBezTo>
                  <a:pt x="364" y="344"/>
                  <a:pt x="373" y="349"/>
                  <a:pt x="382" y="349"/>
                </a:cubicBezTo>
                <a:cubicBezTo>
                  <a:pt x="397" y="349"/>
                  <a:pt x="409" y="337"/>
                  <a:pt x="409" y="322"/>
                </a:cubicBezTo>
                <a:cubicBezTo>
                  <a:pt x="409" y="308"/>
                  <a:pt x="397" y="296"/>
                  <a:pt x="382" y="296"/>
                </a:cubicBezTo>
                <a:cubicBezTo>
                  <a:pt x="373" y="296"/>
                  <a:pt x="364" y="301"/>
                  <a:pt x="360" y="308"/>
                </a:cubicBezTo>
                <a:cubicBezTo>
                  <a:pt x="355" y="301"/>
                  <a:pt x="347" y="296"/>
                  <a:pt x="337" y="296"/>
                </a:cubicBezTo>
                <a:cubicBezTo>
                  <a:pt x="328" y="296"/>
                  <a:pt x="320" y="301"/>
                  <a:pt x="315" y="308"/>
                </a:cubicBezTo>
                <a:cubicBezTo>
                  <a:pt x="310" y="301"/>
                  <a:pt x="302" y="296"/>
                  <a:pt x="292" y="296"/>
                </a:cubicBezTo>
                <a:cubicBezTo>
                  <a:pt x="284" y="296"/>
                  <a:pt x="277" y="300"/>
                  <a:pt x="272" y="306"/>
                </a:cubicBezTo>
                <a:cubicBezTo>
                  <a:pt x="270" y="304"/>
                  <a:pt x="268" y="302"/>
                  <a:pt x="266" y="301"/>
                </a:cubicBezTo>
                <a:cubicBezTo>
                  <a:pt x="273" y="296"/>
                  <a:pt x="278" y="288"/>
                  <a:pt x="278" y="279"/>
                </a:cubicBezTo>
                <a:cubicBezTo>
                  <a:pt x="278" y="270"/>
                  <a:pt x="273" y="262"/>
                  <a:pt x="266" y="258"/>
                </a:cubicBezTo>
                <a:cubicBezTo>
                  <a:pt x="273" y="253"/>
                  <a:pt x="278" y="245"/>
                  <a:pt x="278" y="236"/>
                </a:cubicBezTo>
                <a:cubicBezTo>
                  <a:pt x="278" y="227"/>
                  <a:pt x="273" y="219"/>
                  <a:pt x="266" y="215"/>
                </a:cubicBezTo>
                <a:cubicBezTo>
                  <a:pt x="269" y="213"/>
                  <a:pt x="271" y="210"/>
                  <a:pt x="273" y="208"/>
                </a:cubicBezTo>
                <a:cubicBezTo>
                  <a:pt x="278" y="215"/>
                  <a:pt x="286" y="219"/>
                  <a:pt x="295" y="219"/>
                </a:cubicBezTo>
                <a:cubicBezTo>
                  <a:pt x="306" y="219"/>
                  <a:pt x="315" y="213"/>
                  <a:pt x="319" y="204"/>
                </a:cubicBezTo>
                <a:cubicBezTo>
                  <a:pt x="323" y="213"/>
                  <a:pt x="332" y="219"/>
                  <a:pt x="343" y="219"/>
                </a:cubicBezTo>
                <a:cubicBezTo>
                  <a:pt x="353" y="219"/>
                  <a:pt x="362" y="213"/>
                  <a:pt x="367" y="204"/>
                </a:cubicBezTo>
                <a:cubicBezTo>
                  <a:pt x="371" y="213"/>
                  <a:pt x="380" y="219"/>
                  <a:pt x="390" y="219"/>
                </a:cubicBezTo>
                <a:cubicBezTo>
                  <a:pt x="405" y="219"/>
                  <a:pt x="417" y="208"/>
                  <a:pt x="417" y="193"/>
                </a:cubicBezTo>
                <a:cubicBezTo>
                  <a:pt x="417" y="178"/>
                  <a:pt x="405" y="167"/>
                  <a:pt x="390" y="167"/>
                </a:cubicBezTo>
                <a:cubicBezTo>
                  <a:pt x="380" y="167"/>
                  <a:pt x="371" y="173"/>
                  <a:pt x="367" y="182"/>
                </a:cubicBezTo>
                <a:cubicBezTo>
                  <a:pt x="362" y="173"/>
                  <a:pt x="353" y="167"/>
                  <a:pt x="343" y="167"/>
                </a:cubicBezTo>
                <a:cubicBezTo>
                  <a:pt x="332" y="167"/>
                  <a:pt x="323" y="173"/>
                  <a:pt x="319" y="182"/>
                </a:cubicBezTo>
                <a:cubicBezTo>
                  <a:pt x="315" y="173"/>
                  <a:pt x="306" y="167"/>
                  <a:pt x="295" y="167"/>
                </a:cubicBezTo>
                <a:cubicBezTo>
                  <a:pt x="286" y="167"/>
                  <a:pt x="278" y="171"/>
                  <a:pt x="273" y="178"/>
                </a:cubicBezTo>
                <a:cubicBezTo>
                  <a:pt x="268" y="171"/>
                  <a:pt x="260" y="167"/>
                  <a:pt x="251" y="167"/>
                </a:cubicBezTo>
                <a:cubicBezTo>
                  <a:pt x="237" y="167"/>
                  <a:pt x="225" y="178"/>
                  <a:pt x="225" y="193"/>
                </a:cubicBezTo>
                <a:cubicBezTo>
                  <a:pt x="225" y="202"/>
                  <a:pt x="229" y="210"/>
                  <a:pt x="236" y="215"/>
                </a:cubicBezTo>
                <a:cubicBezTo>
                  <a:pt x="229" y="219"/>
                  <a:pt x="225" y="227"/>
                  <a:pt x="225" y="236"/>
                </a:cubicBezTo>
                <a:cubicBezTo>
                  <a:pt x="225" y="245"/>
                  <a:pt x="229" y="253"/>
                  <a:pt x="236" y="258"/>
                </a:cubicBezTo>
                <a:cubicBezTo>
                  <a:pt x="229" y="262"/>
                  <a:pt x="225" y="270"/>
                  <a:pt x="225" y="279"/>
                </a:cubicBezTo>
                <a:cubicBezTo>
                  <a:pt x="225" y="288"/>
                  <a:pt x="229" y="296"/>
                  <a:pt x="236" y="301"/>
                </a:cubicBezTo>
                <a:cubicBezTo>
                  <a:pt x="229" y="306"/>
                  <a:pt x="225" y="314"/>
                  <a:pt x="225" y="322"/>
                </a:cubicBezTo>
                <a:cubicBezTo>
                  <a:pt x="225" y="331"/>
                  <a:pt x="229" y="339"/>
                  <a:pt x="236" y="344"/>
                </a:cubicBezTo>
                <a:cubicBezTo>
                  <a:pt x="229" y="349"/>
                  <a:pt x="225" y="357"/>
                  <a:pt x="225" y="366"/>
                </a:cubicBezTo>
                <a:cubicBezTo>
                  <a:pt x="225" y="375"/>
                  <a:pt x="229" y="382"/>
                  <a:pt x="236" y="387"/>
                </a:cubicBezTo>
                <a:cubicBezTo>
                  <a:pt x="229" y="392"/>
                  <a:pt x="225" y="400"/>
                  <a:pt x="225" y="409"/>
                </a:cubicBezTo>
                <a:cubicBezTo>
                  <a:pt x="225" y="418"/>
                  <a:pt x="229" y="426"/>
                  <a:pt x="236" y="430"/>
                </a:cubicBezTo>
                <a:cubicBezTo>
                  <a:pt x="229" y="435"/>
                  <a:pt x="225" y="443"/>
                  <a:pt x="225" y="452"/>
                </a:cubicBezTo>
                <a:cubicBezTo>
                  <a:pt x="225" y="467"/>
                  <a:pt x="237" y="478"/>
                  <a:pt x="251" y="478"/>
                </a:cubicBezTo>
                <a:cubicBezTo>
                  <a:pt x="260" y="478"/>
                  <a:pt x="268" y="474"/>
                  <a:pt x="273" y="467"/>
                </a:cubicBezTo>
                <a:cubicBezTo>
                  <a:pt x="278" y="474"/>
                  <a:pt x="286" y="478"/>
                  <a:pt x="295" y="478"/>
                </a:cubicBezTo>
                <a:cubicBezTo>
                  <a:pt x="306" y="478"/>
                  <a:pt x="315" y="472"/>
                  <a:pt x="319" y="463"/>
                </a:cubicBezTo>
                <a:cubicBezTo>
                  <a:pt x="323" y="472"/>
                  <a:pt x="332" y="478"/>
                  <a:pt x="343" y="478"/>
                </a:cubicBezTo>
                <a:cubicBezTo>
                  <a:pt x="353" y="478"/>
                  <a:pt x="362" y="472"/>
                  <a:pt x="367" y="463"/>
                </a:cubicBezTo>
                <a:cubicBezTo>
                  <a:pt x="371" y="472"/>
                  <a:pt x="380" y="478"/>
                  <a:pt x="390" y="478"/>
                </a:cubicBezTo>
                <a:cubicBezTo>
                  <a:pt x="405" y="478"/>
                  <a:pt x="417" y="467"/>
                  <a:pt x="417" y="452"/>
                </a:cubicBezTo>
                <a:cubicBezTo>
                  <a:pt x="417" y="437"/>
                  <a:pt x="405" y="426"/>
                  <a:pt x="390" y="426"/>
                </a:cubicBezTo>
                <a:close/>
                <a:moveTo>
                  <a:pt x="273" y="697"/>
                </a:moveTo>
                <a:cubicBezTo>
                  <a:pt x="278" y="704"/>
                  <a:pt x="286" y="709"/>
                  <a:pt x="295" y="709"/>
                </a:cubicBezTo>
                <a:cubicBezTo>
                  <a:pt x="306" y="709"/>
                  <a:pt x="315" y="702"/>
                  <a:pt x="319" y="693"/>
                </a:cubicBezTo>
                <a:cubicBezTo>
                  <a:pt x="323" y="702"/>
                  <a:pt x="332" y="709"/>
                  <a:pt x="343" y="709"/>
                </a:cubicBezTo>
                <a:cubicBezTo>
                  <a:pt x="353" y="709"/>
                  <a:pt x="362" y="702"/>
                  <a:pt x="367" y="693"/>
                </a:cubicBezTo>
                <a:cubicBezTo>
                  <a:pt x="371" y="702"/>
                  <a:pt x="380" y="709"/>
                  <a:pt x="390" y="709"/>
                </a:cubicBezTo>
                <a:cubicBezTo>
                  <a:pt x="405" y="709"/>
                  <a:pt x="417" y="697"/>
                  <a:pt x="417" y="682"/>
                </a:cubicBezTo>
                <a:cubicBezTo>
                  <a:pt x="417" y="668"/>
                  <a:pt x="405" y="656"/>
                  <a:pt x="390" y="656"/>
                </a:cubicBezTo>
                <a:cubicBezTo>
                  <a:pt x="380" y="656"/>
                  <a:pt x="371" y="662"/>
                  <a:pt x="367" y="671"/>
                </a:cubicBezTo>
                <a:cubicBezTo>
                  <a:pt x="362" y="662"/>
                  <a:pt x="353" y="656"/>
                  <a:pt x="343" y="656"/>
                </a:cubicBezTo>
                <a:cubicBezTo>
                  <a:pt x="332" y="656"/>
                  <a:pt x="323" y="662"/>
                  <a:pt x="319" y="671"/>
                </a:cubicBezTo>
                <a:cubicBezTo>
                  <a:pt x="315" y="662"/>
                  <a:pt x="306" y="656"/>
                  <a:pt x="295" y="656"/>
                </a:cubicBezTo>
                <a:cubicBezTo>
                  <a:pt x="286" y="656"/>
                  <a:pt x="278" y="660"/>
                  <a:pt x="273" y="667"/>
                </a:cubicBezTo>
                <a:cubicBezTo>
                  <a:pt x="268" y="660"/>
                  <a:pt x="260" y="656"/>
                  <a:pt x="251" y="656"/>
                </a:cubicBezTo>
                <a:cubicBezTo>
                  <a:pt x="237" y="656"/>
                  <a:pt x="225" y="668"/>
                  <a:pt x="225" y="682"/>
                </a:cubicBezTo>
                <a:cubicBezTo>
                  <a:pt x="225" y="691"/>
                  <a:pt x="229" y="699"/>
                  <a:pt x="236" y="704"/>
                </a:cubicBezTo>
                <a:cubicBezTo>
                  <a:pt x="229" y="709"/>
                  <a:pt x="225" y="716"/>
                  <a:pt x="225" y="725"/>
                </a:cubicBezTo>
                <a:cubicBezTo>
                  <a:pt x="225" y="734"/>
                  <a:pt x="229" y="742"/>
                  <a:pt x="236" y="747"/>
                </a:cubicBezTo>
                <a:cubicBezTo>
                  <a:pt x="229" y="752"/>
                  <a:pt x="225" y="760"/>
                  <a:pt x="225" y="769"/>
                </a:cubicBezTo>
                <a:cubicBezTo>
                  <a:pt x="225" y="777"/>
                  <a:pt x="229" y="785"/>
                  <a:pt x="236" y="790"/>
                </a:cubicBezTo>
                <a:cubicBezTo>
                  <a:pt x="229" y="795"/>
                  <a:pt x="225" y="803"/>
                  <a:pt x="225" y="812"/>
                </a:cubicBezTo>
                <a:cubicBezTo>
                  <a:pt x="225" y="821"/>
                  <a:pt x="229" y="829"/>
                  <a:pt x="236" y="833"/>
                </a:cubicBezTo>
                <a:cubicBezTo>
                  <a:pt x="229" y="838"/>
                  <a:pt x="225" y="846"/>
                  <a:pt x="225" y="855"/>
                </a:cubicBezTo>
                <a:cubicBezTo>
                  <a:pt x="225" y="864"/>
                  <a:pt x="229" y="872"/>
                  <a:pt x="236" y="876"/>
                </a:cubicBezTo>
                <a:cubicBezTo>
                  <a:pt x="229" y="881"/>
                  <a:pt x="225" y="889"/>
                  <a:pt x="225" y="898"/>
                </a:cubicBezTo>
                <a:cubicBezTo>
                  <a:pt x="225" y="907"/>
                  <a:pt x="229" y="915"/>
                  <a:pt x="236" y="920"/>
                </a:cubicBezTo>
                <a:cubicBezTo>
                  <a:pt x="229" y="924"/>
                  <a:pt x="225" y="932"/>
                  <a:pt x="225" y="941"/>
                </a:cubicBezTo>
                <a:cubicBezTo>
                  <a:pt x="225" y="956"/>
                  <a:pt x="237" y="968"/>
                  <a:pt x="251" y="968"/>
                </a:cubicBezTo>
                <a:cubicBezTo>
                  <a:pt x="260" y="968"/>
                  <a:pt x="268" y="963"/>
                  <a:pt x="273" y="956"/>
                </a:cubicBezTo>
                <a:cubicBezTo>
                  <a:pt x="278" y="963"/>
                  <a:pt x="286" y="968"/>
                  <a:pt x="295" y="968"/>
                </a:cubicBezTo>
                <a:cubicBezTo>
                  <a:pt x="306" y="968"/>
                  <a:pt x="315" y="961"/>
                  <a:pt x="319" y="952"/>
                </a:cubicBezTo>
                <a:cubicBezTo>
                  <a:pt x="323" y="961"/>
                  <a:pt x="332" y="968"/>
                  <a:pt x="343" y="968"/>
                </a:cubicBezTo>
                <a:cubicBezTo>
                  <a:pt x="353" y="968"/>
                  <a:pt x="362" y="961"/>
                  <a:pt x="367" y="952"/>
                </a:cubicBezTo>
                <a:cubicBezTo>
                  <a:pt x="371" y="961"/>
                  <a:pt x="380" y="968"/>
                  <a:pt x="390" y="968"/>
                </a:cubicBezTo>
                <a:cubicBezTo>
                  <a:pt x="405" y="968"/>
                  <a:pt x="417" y="956"/>
                  <a:pt x="417" y="941"/>
                </a:cubicBezTo>
                <a:cubicBezTo>
                  <a:pt x="417" y="927"/>
                  <a:pt x="405" y="915"/>
                  <a:pt x="390" y="915"/>
                </a:cubicBezTo>
                <a:cubicBezTo>
                  <a:pt x="380" y="915"/>
                  <a:pt x="371" y="921"/>
                  <a:pt x="367" y="930"/>
                </a:cubicBezTo>
                <a:cubicBezTo>
                  <a:pt x="362" y="921"/>
                  <a:pt x="353" y="915"/>
                  <a:pt x="343" y="915"/>
                </a:cubicBezTo>
                <a:cubicBezTo>
                  <a:pt x="332" y="915"/>
                  <a:pt x="323" y="921"/>
                  <a:pt x="319" y="930"/>
                </a:cubicBezTo>
                <a:cubicBezTo>
                  <a:pt x="315" y="921"/>
                  <a:pt x="306" y="915"/>
                  <a:pt x="295" y="915"/>
                </a:cubicBezTo>
                <a:cubicBezTo>
                  <a:pt x="286" y="915"/>
                  <a:pt x="278" y="919"/>
                  <a:pt x="273" y="926"/>
                </a:cubicBezTo>
                <a:cubicBezTo>
                  <a:pt x="271" y="924"/>
                  <a:pt x="269" y="921"/>
                  <a:pt x="266" y="920"/>
                </a:cubicBezTo>
                <a:cubicBezTo>
                  <a:pt x="273" y="915"/>
                  <a:pt x="278" y="907"/>
                  <a:pt x="278" y="898"/>
                </a:cubicBezTo>
                <a:cubicBezTo>
                  <a:pt x="278" y="889"/>
                  <a:pt x="273" y="881"/>
                  <a:pt x="266" y="876"/>
                </a:cubicBezTo>
                <a:cubicBezTo>
                  <a:pt x="273" y="872"/>
                  <a:pt x="278" y="864"/>
                  <a:pt x="278" y="855"/>
                </a:cubicBezTo>
                <a:cubicBezTo>
                  <a:pt x="278" y="846"/>
                  <a:pt x="273" y="838"/>
                  <a:pt x="266" y="833"/>
                </a:cubicBezTo>
                <a:cubicBezTo>
                  <a:pt x="269" y="832"/>
                  <a:pt x="270" y="830"/>
                  <a:pt x="272" y="828"/>
                </a:cubicBezTo>
                <a:cubicBezTo>
                  <a:pt x="277" y="834"/>
                  <a:pt x="284" y="838"/>
                  <a:pt x="292" y="838"/>
                </a:cubicBezTo>
                <a:cubicBezTo>
                  <a:pt x="302" y="838"/>
                  <a:pt x="310" y="833"/>
                  <a:pt x="315" y="825"/>
                </a:cubicBezTo>
                <a:cubicBezTo>
                  <a:pt x="320" y="833"/>
                  <a:pt x="328" y="838"/>
                  <a:pt x="337" y="838"/>
                </a:cubicBezTo>
                <a:cubicBezTo>
                  <a:pt x="347" y="838"/>
                  <a:pt x="355" y="833"/>
                  <a:pt x="360" y="825"/>
                </a:cubicBezTo>
                <a:cubicBezTo>
                  <a:pt x="364" y="833"/>
                  <a:pt x="373" y="838"/>
                  <a:pt x="382" y="838"/>
                </a:cubicBezTo>
                <a:cubicBezTo>
                  <a:pt x="397" y="838"/>
                  <a:pt x="409" y="826"/>
                  <a:pt x="409" y="811"/>
                </a:cubicBezTo>
                <a:cubicBezTo>
                  <a:pt x="409" y="797"/>
                  <a:pt x="397" y="785"/>
                  <a:pt x="382" y="785"/>
                </a:cubicBezTo>
                <a:cubicBezTo>
                  <a:pt x="373" y="785"/>
                  <a:pt x="364" y="790"/>
                  <a:pt x="360" y="798"/>
                </a:cubicBezTo>
                <a:cubicBezTo>
                  <a:pt x="355" y="790"/>
                  <a:pt x="347" y="785"/>
                  <a:pt x="337" y="785"/>
                </a:cubicBezTo>
                <a:cubicBezTo>
                  <a:pt x="328" y="785"/>
                  <a:pt x="320" y="790"/>
                  <a:pt x="315" y="798"/>
                </a:cubicBezTo>
                <a:cubicBezTo>
                  <a:pt x="310" y="790"/>
                  <a:pt x="302" y="785"/>
                  <a:pt x="292" y="785"/>
                </a:cubicBezTo>
                <a:cubicBezTo>
                  <a:pt x="284" y="785"/>
                  <a:pt x="277" y="789"/>
                  <a:pt x="272" y="795"/>
                </a:cubicBezTo>
                <a:cubicBezTo>
                  <a:pt x="270" y="793"/>
                  <a:pt x="268" y="792"/>
                  <a:pt x="266" y="790"/>
                </a:cubicBezTo>
                <a:cubicBezTo>
                  <a:pt x="273" y="785"/>
                  <a:pt x="278" y="777"/>
                  <a:pt x="278" y="769"/>
                </a:cubicBezTo>
                <a:cubicBezTo>
                  <a:pt x="278" y="760"/>
                  <a:pt x="273" y="752"/>
                  <a:pt x="266" y="747"/>
                </a:cubicBezTo>
                <a:cubicBezTo>
                  <a:pt x="273" y="742"/>
                  <a:pt x="278" y="734"/>
                  <a:pt x="278" y="725"/>
                </a:cubicBezTo>
                <a:cubicBezTo>
                  <a:pt x="278" y="716"/>
                  <a:pt x="273" y="709"/>
                  <a:pt x="266" y="704"/>
                </a:cubicBezTo>
                <a:cubicBezTo>
                  <a:pt x="269" y="702"/>
                  <a:pt x="271" y="700"/>
                  <a:pt x="273" y="69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7240587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487" y="916756"/>
            <a:ext cx="7240587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2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217488" y="2082800"/>
            <a:ext cx="1833562" cy="350838"/>
          </a:xfrm>
        </p:spPr>
        <p:txBody>
          <a:bodyPr/>
          <a:lstStyle>
            <a:lvl1pPr algn="l">
              <a:defRPr lang="en-GB" sz="2400" kern="1200">
                <a:solidFill>
                  <a:srgbClr val="34A1A0"/>
                </a:solidFill>
                <a:latin typeface="EE Nobblee Light" pitchFamily="2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02595149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1E037252-0722-4ACA-AC89-822826993DD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173418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Aqua Functiona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0F261E3A-94BF-400D-9C90-EB284619E9D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3846755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rgbClr val="169685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08395CBF-F3C5-4DDD-A50D-D98BA2ECA99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3330215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Yellow Function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rgbClr val="169685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D17287F4-183E-46C9-8D36-28C92F6A460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9500183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Iv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089296B8-620D-4A68-B317-52C07835042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0432686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Ivory Func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CD5FC87-C047-466D-A92B-39D3E9D2311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1291178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Ivory Functio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E297114E-9412-4699-93C4-FA464C096E8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8485830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83371432-F5B2-4886-8C1A-BCC35A74115E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996846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Grey Function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i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B85601B2-14D4-4BE3-BBAC-EBBD2F93FBE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2521931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i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F5DF7ACA-3F99-44FB-9A2A-78612EECCF1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557444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tx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EBE56A95-131D-400D-B5B1-EABD37F8FE2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4977013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488" y="420689"/>
            <a:ext cx="8712200" cy="67786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54F4A177-5015-436A-8B3D-DD2C47AA7C2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7362296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7488" y="420689"/>
            <a:ext cx="8712200" cy="67786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E8BA8778-CA59-4D17-A0EA-3249055ACF5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5726552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with Dark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371792"/>
            <a:ext cx="8712200" cy="1722010"/>
          </a:xfrm>
        </p:spPr>
        <p:txBody>
          <a:bodyPr>
            <a:normAutofit/>
          </a:bodyPr>
          <a:lstStyle>
            <a:lvl1pPr>
              <a:defRPr lang="en-GB" sz="3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4F1BA39C-678B-43D6-AFA9-01CF88B8259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3106979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with Light Imag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371792"/>
            <a:ext cx="8712200" cy="1722010"/>
          </a:xfrm>
        </p:spPr>
        <p:txBody>
          <a:bodyPr>
            <a:normAutofit/>
          </a:bodyPr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FEE8A460-CC64-490A-AA10-9F1F89A57FB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9899105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200" indent="-457200">
              <a:buFont typeface="+mj-lt"/>
              <a:buAutoNum type="arabicPeriod"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DD5BDB-155B-4ADB-8D18-225C6055B57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5801101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17488" y="215900"/>
            <a:ext cx="8712200" cy="720197"/>
          </a:xfrm>
        </p:spPr>
        <p:txBody>
          <a:bodyPr>
            <a:noAutofit/>
          </a:bodyPr>
          <a:lstStyle>
            <a:lvl1pPr>
              <a:defRPr sz="5200" b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17488" y="916756"/>
            <a:ext cx="8712200" cy="1200329"/>
          </a:xfrm>
        </p:spPr>
        <p:txBody>
          <a:bodyPr>
            <a:noAutofit/>
          </a:bodyPr>
          <a:lstStyle>
            <a:lvl1pPr marL="0" indent="0" algn="l">
              <a:lnSpc>
                <a:spcPct val="75000"/>
              </a:lnSpc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5D581B8-EF58-4297-828B-535DFD3CDD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8880741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88132C-31C0-44C1-933A-497A78C7387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0186951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5"/>
            <a:ext cx="4291012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8675" y="1228725"/>
            <a:ext cx="4291013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F0D1E-C073-4A7C-A03E-11F16E5043C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4649220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5"/>
            <a:ext cx="2816225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5"/>
            <a:ext cx="2820986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6111875" y="1228725"/>
            <a:ext cx="2817813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E39F90-4E5A-43F4-B2B8-9D760346399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8270725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17488" y="1228726"/>
            <a:ext cx="2816225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163889" y="1228726"/>
            <a:ext cx="2820986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6111875" y="1228726"/>
            <a:ext cx="2817813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6"/>
          </p:nvPr>
        </p:nvSpPr>
        <p:spPr>
          <a:xfrm>
            <a:off x="217488" y="3325813"/>
            <a:ext cx="2816225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7"/>
          </p:nvPr>
        </p:nvSpPr>
        <p:spPr>
          <a:xfrm>
            <a:off x="3163889" y="3325813"/>
            <a:ext cx="2820986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/>
          </p:nvPr>
        </p:nvSpPr>
        <p:spPr>
          <a:xfrm>
            <a:off x="6111875" y="3325813"/>
            <a:ext cx="2817813" cy="19685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60E6E1-619F-42E3-8BBB-C45F0F11557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074474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7488" y="1228725"/>
            <a:ext cx="5767387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5710D-9E76-4D04-BA62-B4A654ACA19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3734844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62301" y="1228725"/>
            <a:ext cx="5767387" cy="4068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ABA35-9595-4838-B595-6E3FFE025D00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759403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74C7D0-DB06-4FEC-9EAB-8054B474201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0114403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- Aqu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algn="ct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lnSpc>
                <a:spcPct val="95000"/>
              </a:lnSpc>
              <a:spcBef>
                <a:spcPts val="0"/>
              </a:spcBef>
              <a:defRPr sz="800"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279E510F-B596-4929-95B8-5615B7CF8FF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882553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Message -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rgbClr val="16968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rgbClr val="6D6E71"/>
                </a:solidFill>
              </a:defRPr>
            </a:lvl1pPr>
          </a:lstStyle>
          <a:p>
            <a:pPr>
              <a:defRPr/>
            </a:pPr>
            <a:fld id="{EAF8D7A4-AF8A-457D-8139-102A8CBE5A9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1567574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Message -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217488" y="1228725"/>
            <a:ext cx="8712200" cy="4068763"/>
          </a:xfrm>
        </p:spPr>
        <p:txBody>
          <a:bodyPr/>
          <a:lstStyle>
            <a:lvl1pPr>
              <a:defRPr lang="en-GB" sz="34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fld id="{0FF74114-86F6-491B-B1BC-FCBF612A284F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554763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slideLayout" Target="../slideLayouts/slideLayout10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slideLayout" Target="../slideLayouts/slideLayout121.xml"/><Relationship Id="rId18" Type="http://schemas.openxmlformats.org/officeDocument/2006/relationships/slideLayout" Target="../slideLayouts/slideLayout126.xml"/><Relationship Id="rId26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129.xml"/><Relationship Id="rId34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17" Type="http://schemas.openxmlformats.org/officeDocument/2006/relationships/slideLayout" Target="../slideLayouts/slideLayout125.xml"/><Relationship Id="rId25" Type="http://schemas.openxmlformats.org/officeDocument/2006/relationships/slideLayout" Target="../slideLayouts/slideLayout133.xml"/><Relationship Id="rId33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10.xml"/><Relationship Id="rId16" Type="http://schemas.openxmlformats.org/officeDocument/2006/relationships/slideLayout" Target="../slideLayouts/slideLayout124.xml"/><Relationship Id="rId20" Type="http://schemas.openxmlformats.org/officeDocument/2006/relationships/slideLayout" Target="../slideLayouts/slideLayout128.xml"/><Relationship Id="rId29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24" Type="http://schemas.openxmlformats.org/officeDocument/2006/relationships/slideLayout" Target="../slideLayouts/slideLayout132.xml"/><Relationship Id="rId32" Type="http://schemas.openxmlformats.org/officeDocument/2006/relationships/slideLayout" Target="../slideLayouts/slideLayout140.xml"/><Relationship Id="rId37" Type="http://schemas.openxmlformats.org/officeDocument/2006/relationships/theme" Target="../theme/theme4.xml"/><Relationship Id="rId5" Type="http://schemas.openxmlformats.org/officeDocument/2006/relationships/slideLayout" Target="../slideLayouts/slideLayout113.xml"/><Relationship Id="rId15" Type="http://schemas.openxmlformats.org/officeDocument/2006/relationships/slideLayout" Target="../slideLayouts/slideLayout123.xml"/><Relationship Id="rId23" Type="http://schemas.openxmlformats.org/officeDocument/2006/relationships/slideLayout" Target="../slideLayouts/slideLayout131.xml"/><Relationship Id="rId28" Type="http://schemas.openxmlformats.org/officeDocument/2006/relationships/slideLayout" Target="../slideLayouts/slideLayout136.xml"/><Relationship Id="rId36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18.xml"/><Relationship Id="rId19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Relationship Id="rId14" Type="http://schemas.openxmlformats.org/officeDocument/2006/relationships/slideLayout" Target="../slideLayouts/slideLayout122.xml"/><Relationship Id="rId22" Type="http://schemas.openxmlformats.org/officeDocument/2006/relationships/slideLayout" Target="../slideLayouts/slideLayout130.xml"/><Relationship Id="rId27" Type="http://schemas.openxmlformats.org/officeDocument/2006/relationships/slideLayout" Target="../slideLayouts/slideLayout135.xml"/><Relationship Id="rId30" Type="http://schemas.openxmlformats.org/officeDocument/2006/relationships/slideLayout" Target="../slideLayouts/slideLayout138.xml"/><Relationship Id="rId35" Type="http://schemas.openxmlformats.org/officeDocument/2006/relationships/slideLayout" Target="../slideLayouts/slideLayout1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17488" y="420688"/>
            <a:ext cx="871220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17488" y="1228725"/>
            <a:ext cx="8712200" cy="406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987800" y="5451475"/>
            <a:ext cx="1168400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7488" y="5451475"/>
            <a:ext cx="2895600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4250" y="5451475"/>
            <a:ext cx="325438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676AD87F-B245-4E67-865E-EBB71275D51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4844" r:id="rId1"/>
    <p:sldLayoutId id="2147494845" r:id="rId2"/>
    <p:sldLayoutId id="2147494846" r:id="rId3"/>
    <p:sldLayoutId id="2147494847" r:id="rId4"/>
    <p:sldLayoutId id="2147494848" r:id="rId5"/>
    <p:sldLayoutId id="2147494849" r:id="rId6"/>
    <p:sldLayoutId id="2147494850" r:id="rId7"/>
    <p:sldLayoutId id="2147494851" r:id="rId8"/>
    <p:sldLayoutId id="2147494852" r:id="rId9"/>
    <p:sldLayoutId id="2147494853" r:id="rId10"/>
    <p:sldLayoutId id="2147494854" r:id="rId11"/>
    <p:sldLayoutId id="2147494855" r:id="rId12"/>
    <p:sldLayoutId id="2147494856" r:id="rId13"/>
    <p:sldLayoutId id="2147494857" r:id="rId14"/>
    <p:sldLayoutId id="2147494858" r:id="rId15"/>
    <p:sldLayoutId id="2147494859" r:id="rId16"/>
    <p:sldLayoutId id="2147494796" r:id="rId17"/>
    <p:sldLayoutId id="2147494797" r:id="rId18"/>
    <p:sldLayoutId id="2147494798" r:id="rId19"/>
    <p:sldLayoutId id="2147494799" r:id="rId20"/>
    <p:sldLayoutId id="2147494800" r:id="rId21"/>
    <p:sldLayoutId id="2147494801" r:id="rId22"/>
    <p:sldLayoutId id="2147494802" r:id="rId23"/>
    <p:sldLayoutId id="2147494803" r:id="rId24"/>
    <p:sldLayoutId id="2147494860" r:id="rId25"/>
    <p:sldLayoutId id="2147494861" r:id="rId26"/>
    <p:sldLayoutId id="2147494862" r:id="rId27"/>
    <p:sldLayoutId id="2147494804" r:id="rId28"/>
    <p:sldLayoutId id="2147494863" r:id="rId29"/>
    <p:sldLayoutId id="2147494864" r:id="rId30"/>
    <p:sldLayoutId id="2147494865" r:id="rId31"/>
    <p:sldLayoutId id="2147494805" r:id="rId32"/>
    <p:sldLayoutId id="2147494866" r:id="rId33"/>
    <p:sldLayoutId id="2147494806" r:id="rId34"/>
    <p:sldLayoutId id="2147494807" r:id="rId35"/>
    <p:sldLayoutId id="2147494867" r:id="rId36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Rubrik Regular" pitchFamily="2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Arial" charset="0"/>
        <a:defRPr sz="2000" b="1" kern="1200">
          <a:solidFill>
            <a:schemeClr val="tx2"/>
          </a:solidFill>
          <a:latin typeface="Rubrik Regular" pitchFamily="2" charset="0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Arial" charset="0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4638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808038" indent="-2667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217488" y="420688"/>
            <a:ext cx="871220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17488" y="1228725"/>
            <a:ext cx="8712200" cy="406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987800" y="5451475"/>
            <a:ext cx="1168400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rgbClr val="6D6E7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7488" y="5451475"/>
            <a:ext cx="2895600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rgbClr val="6D6E7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4250" y="5451475"/>
            <a:ext cx="325438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rgbClr val="6D6E71"/>
                </a:solidFill>
                <a:latin typeface="+mn-lt"/>
              </a:defRPr>
            </a:lvl1pPr>
          </a:lstStyle>
          <a:p>
            <a:pPr>
              <a:defRPr/>
            </a:pPr>
            <a:fld id="{CEBD0869-F08C-4251-A77B-CCA48D8DB1A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4868" r:id="rId1"/>
    <p:sldLayoutId id="2147494869" r:id="rId2"/>
    <p:sldLayoutId id="2147494870" r:id="rId3"/>
    <p:sldLayoutId id="2147494871" r:id="rId4"/>
    <p:sldLayoutId id="2147494872" r:id="rId5"/>
    <p:sldLayoutId id="2147494873" r:id="rId6"/>
    <p:sldLayoutId id="2147494874" r:id="rId7"/>
    <p:sldLayoutId id="2147494875" r:id="rId8"/>
    <p:sldLayoutId id="2147494876" r:id="rId9"/>
    <p:sldLayoutId id="2147494877" r:id="rId10"/>
    <p:sldLayoutId id="2147494878" r:id="rId11"/>
    <p:sldLayoutId id="2147494879" r:id="rId12"/>
    <p:sldLayoutId id="2147494880" r:id="rId13"/>
    <p:sldLayoutId id="2147494881" r:id="rId14"/>
    <p:sldLayoutId id="2147494882" r:id="rId15"/>
    <p:sldLayoutId id="2147494883" r:id="rId16"/>
    <p:sldLayoutId id="2147494808" r:id="rId17"/>
    <p:sldLayoutId id="2147494809" r:id="rId18"/>
    <p:sldLayoutId id="2147494810" r:id="rId19"/>
    <p:sldLayoutId id="2147494811" r:id="rId20"/>
    <p:sldLayoutId id="2147494812" r:id="rId21"/>
    <p:sldLayoutId id="2147494813" r:id="rId22"/>
    <p:sldLayoutId id="2147494814" r:id="rId23"/>
    <p:sldLayoutId id="2147494815" r:id="rId24"/>
    <p:sldLayoutId id="2147494884" r:id="rId25"/>
    <p:sldLayoutId id="2147494885" r:id="rId26"/>
    <p:sldLayoutId id="2147494886" r:id="rId27"/>
    <p:sldLayoutId id="2147494816" r:id="rId28"/>
    <p:sldLayoutId id="2147494887" r:id="rId29"/>
    <p:sldLayoutId id="2147494888" r:id="rId30"/>
    <p:sldLayoutId id="2147494889" r:id="rId31"/>
    <p:sldLayoutId id="2147494817" r:id="rId32"/>
    <p:sldLayoutId id="2147494890" r:id="rId33"/>
    <p:sldLayoutId id="2147494818" r:id="rId34"/>
    <p:sldLayoutId id="2147494819" r:id="rId35"/>
    <p:sldLayoutId id="2147494891" r:id="rId36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Rubrik Regular" pitchFamily="2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Arial" charset="0"/>
        <a:defRPr sz="2000" b="1" kern="1200">
          <a:solidFill>
            <a:schemeClr val="tx2"/>
          </a:solidFill>
          <a:latin typeface="Rubrik Regular" pitchFamily="2" charset="0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Arial" charset="0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4638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808038" indent="-2667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217488" y="420688"/>
            <a:ext cx="871220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17488" y="1228725"/>
            <a:ext cx="8712200" cy="406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987800" y="5451475"/>
            <a:ext cx="1168400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rgbClr val="6D6E7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7488" y="5451475"/>
            <a:ext cx="2895600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rgbClr val="6D6E7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4250" y="5451475"/>
            <a:ext cx="325438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rgbClr val="6D6E71"/>
                </a:solidFill>
                <a:latin typeface="+mn-lt"/>
              </a:defRPr>
            </a:lvl1pPr>
          </a:lstStyle>
          <a:p>
            <a:pPr>
              <a:defRPr/>
            </a:pPr>
            <a:fld id="{667C72B7-E456-4C66-8596-B85B03D8433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4892" r:id="rId1"/>
    <p:sldLayoutId id="2147494893" r:id="rId2"/>
    <p:sldLayoutId id="2147494894" r:id="rId3"/>
    <p:sldLayoutId id="2147494895" r:id="rId4"/>
    <p:sldLayoutId id="2147494896" r:id="rId5"/>
    <p:sldLayoutId id="2147494897" r:id="rId6"/>
    <p:sldLayoutId id="2147494898" r:id="rId7"/>
    <p:sldLayoutId id="2147494899" r:id="rId8"/>
    <p:sldLayoutId id="2147494900" r:id="rId9"/>
    <p:sldLayoutId id="2147494901" r:id="rId10"/>
    <p:sldLayoutId id="2147494902" r:id="rId11"/>
    <p:sldLayoutId id="2147494903" r:id="rId12"/>
    <p:sldLayoutId id="2147494904" r:id="rId13"/>
    <p:sldLayoutId id="2147494905" r:id="rId14"/>
    <p:sldLayoutId id="2147494906" r:id="rId15"/>
    <p:sldLayoutId id="2147494907" r:id="rId16"/>
    <p:sldLayoutId id="2147494820" r:id="rId17"/>
    <p:sldLayoutId id="2147494821" r:id="rId18"/>
    <p:sldLayoutId id="2147494822" r:id="rId19"/>
    <p:sldLayoutId id="2147494823" r:id="rId20"/>
    <p:sldLayoutId id="2147494824" r:id="rId21"/>
    <p:sldLayoutId id="2147494825" r:id="rId22"/>
    <p:sldLayoutId id="2147494826" r:id="rId23"/>
    <p:sldLayoutId id="2147494827" r:id="rId24"/>
    <p:sldLayoutId id="2147494908" r:id="rId25"/>
    <p:sldLayoutId id="2147494909" r:id="rId26"/>
    <p:sldLayoutId id="2147494910" r:id="rId27"/>
    <p:sldLayoutId id="2147494828" r:id="rId28"/>
    <p:sldLayoutId id="2147494911" r:id="rId29"/>
    <p:sldLayoutId id="2147494912" r:id="rId30"/>
    <p:sldLayoutId id="2147494913" r:id="rId31"/>
    <p:sldLayoutId id="2147494829" r:id="rId32"/>
    <p:sldLayoutId id="2147494914" r:id="rId33"/>
    <p:sldLayoutId id="2147494830" r:id="rId34"/>
    <p:sldLayoutId id="2147494831" r:id="rId35"/>
    <p:sldLayoutId id="2147494915" r:id="rId36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Rubrik Regular" pitchFamily="2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Arial" charset="0"/>
        <a:defRPr sz="2000" b="1" kern="1200">
          <a:solidFill>
            <a:schemeClr val="tx2"/>
          </a:solidFill>
          <a:latin typeface="Rubrik Regular" pitchFamily="2" charset="0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Arial" charset="0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4638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808038" indent="-2667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217488" y="420688"/>
            <a:ext cx="871220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17488" y="1228725"/>
            <a:ext cx="8712200" cy="406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987800" y="5451475"/>
            <a:ext cx="1168400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rgbClr val="6D6E7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17488" y="5451475"/>
            <a:ext cx="2895600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rgbClr val="6D6E7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4250" y="5451475"/>
            <a:ext cx="325438" cy="13176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800">
                <a:solidFill>
                  <a:srgbClr val="6D6E71"/>
                </a:solidFill>
                <a:latin typeface="+mn-lt"/>
              </a:defRPr>
            </a:lvl1pPr>
          </a:lstStyle>
          <a:p>
            <a:pPr>
              <a:defRPr/>
            </a:pPr>
            <a:fld id="{2BDC8F65-9E4A-4D1B-996E-5F3FE5C0661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15900" y="290513"/>
            <a:ext cx="8728075" cy="0"/>
          </a:xfrm>
          <a:prstGeom prst="line">
            <a:avLst/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4916" r:id="rId1"/>
    <p:sldLayoutId id="2147494917" r:id="rId2"/>
    <p:sldLayoutId id="2147494918" r:id="rId3"/>
    <p:sldLayoutId id="2147494919" r:id="rId4"/>
    <p:sldLayoutId id="2147494920" r:id="rId5"/>
    <p:sldLayoutId id="2147494921" r:id="rId6"/>
    <p:sldLayoutId id="2147494922" r:id="rId7"/>
    <p:sldLayoutId id="2147494923" r:id="rId8"/>
    <p:sldLayoutId id="2147494924" r:id="rId9"/>
    <p:sldLayoutId id="2147494925" r:id="rId10"/>
    <p:sldLayoutId id="2147494926" r:id="rId11"/>
    <p:sldLayoutId id="2147494927" r:id="rId12"/>
    <p:sldLayoutId id="2147494928" r:id="rId13"/>
    <p:sldLayoutId id="2147494929" r:id="rId14"/>
    <p:sldLayoutId id="2147494930" r:id="rId15"/>
    <p:sldLayoutId id="2147494931" r:id="rId16"/>
    <p:sldLayoutId id="2147494832" r:id="rId17"/>
    <p:sldLayoutId id="2147494833" r:id="rId18"/>
    <p:sldLayoutId id="2147494834" r:id="rId19"/>
    <p:sldLayoutId id="2147494835" r:id="rId20"/>
    <p:sldLayoutId id="2147494836" r:id="rId21"/>
    <p:sldLayoutId id="2147494837" r:id="rId22"/>
    <p:sldLayoutId id="2147494838" r:id="rId23"/>
    <p:sldLayoutId id="2147494839" r:id="rId24"/>
    <p:sldLayoutId id="2147494932" r:id="rId25"/>
    <p:sldLayoutId id="2147494933" r:id="rId26"/>
    <p:sldLayoutId id="2147494934" r:id="rId27"/>
    <p:sldLayoutId id="2147494840" r:id="rId28"/>
    <p:sldLayoutId id="2147494935" r:id="rId29"/>
    <p:sldLayoutId id="2147494936" r:id="rId30"/>
    <p:sldLayoutId id="2147494937" r:id="rId31"/>
    <p:sldLayoutId id="2147494841" r:id="rId32"/>
    <p:sldLayoutId id="2147494938" r:id="rId33"/>
    <p:sldLayoutId id="2147494842" r:id="rId34"/>
    <p:sldLayoutId id="2147494843" r:id="rId35"/>
    <p:sldLayoutId id="2147494939" r:id="rId36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Rubrik Regular" pitchFamily="2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Rubrik Regular" pitchFamily="2" charset="0"/>
        </a:defRPr>
      </a:lvl9pPr>
    </p:titleStyle>
    <p:bodyStyle>
      <a:lvl1pPr marL="342900" indent="-3429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Arial" charset="0"/>
        <a:defRPr sz="2000" b="1" kern="1200">
          <a:solidFill>
            <a:schemeClr val="tx2"/>
          </a:solidFill>
          <a:latin typeface="Rubrik Regular" pitchFamily="2" charset="0"/>
          <a:ea typeface="+mn-ea"/>
          <a:cs typeface="+mn-cs"/>
        </a:defRPr>
      </a:lvl1pPr>
      <a:lvl2pPr marL="742950" indent="-28575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Arial" charset="0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4638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808038" indent="-266700" algn="l" rtl="0" eaLnBrk="0" fontAlgn="base" hangingPunct="0">
        <a:lnSpc>
          <a:spcPct val="95000"/>
        </a:lnSpc>
        <a:spcBef>
          <a:spcPct val="0"/>
        </a:spcBef>
        <a:spcAft>
          <a:spcPts val="900"/>
        </a:spcAft>
        <a:buFont typeface="Rubrik Regular" pitchFamily="2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13" Type="http://schemas.openxmlformats.org/officeDocument/2006/relationships/image" Target="../media/image43.jpeg"/><Relationship Id="rId18" Type="http://schemas.openxmlformats.org/officeDocument/2006/relationships/image" Target="../media/image48.jpeg"/><Relationship Id="rId3" Type="http://schemas.openxmlformats.org/officeDocument/2006/relationships/image" Target="../media/image33.jpeg"/><Relationship Id="rId7" Type="http://schemas.openxmlformats.org/officeDocument/2006/relationships/image" Target="../media/image37.png"/><Relationship Id="rId12" Type="http://schemas.openxmlformats.org/officeDocument/2006/relationships/image" Target="../media/image42.jpeg"/><Relationship Id="rId17" Type="http://schemas.openxmlformats.org/officeDocument/2006/relationships/image" Target="../media/image47.jpe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46.jpeg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36.jpeg"/><Relationship Id="rId11" Type="http://schemas.openxmlformats.org/officeDocument/2006/relationships/image" Target="../media/image41.jpeg"/><Relationship Id="rId5" Type="http://schemas.openxmlformats.org/officeDocument/2006/relationships/image" Target="../media/image35.jpeg"/><Relationship Id="rId15" Type="http://schemas.openxmlformats.org/officeDocument/2006/relationships/image" Target="../media/image45.jpeg"/><Relationship Id="rId10" Type="http://schemas.openxmlformats.org/officeDocument/2006/relationships/image" Target="../media/image40.png"/><Relationship Id="rId4" Type="http://schemas.openxmlformats.org/officeDocument/2006/relationships/image" Target="../media/image34.jpeg"/><Relationship Id="rId9" Type="http://schemas.openxmlformats.org/officeDocument/2006/relationships/image" Target="../media/image39.jpeg"/><Relationship Id="rId14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0.jpeg"/><Relationship Id="rId7" Type="http://schemas.openxmlformats.org/officeDocument/2006/relationships/image" Target="../media/image54.jpe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53.jpeg"/><Relationship Id="rId11" Type="http://schemas.openxmlformats.org/officeDocument/2006/relationships/image" Target="../media/image58.png"/><Relationship Id="rId5" Type="http://schemas.openxmlformats.org/officeDocument/2006/relationships/image" Target="../media/image52.jpeg"/><Relationship Id="rId10" Type="http://schemas.openxmlformats.org/officeDocument/2006/relationships/image" Target="../media/image57.png"/><Relationship Id="rId4" Type="http://schemas.openxmlformats.org/officeDocument/2006/relationships/image" Target="../media/image51.jpeg"/><Relationship Id="rId9" Type="http://schemas.openxmlformats.org/officeDocument/2006/relationships/image" Target="../media/image5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jpeg"/><Relationship Id="rId3" Type="http://schemas.openxmlformats.org/officeDocument/2006/relationships/image" Target="../media/image60.jpeg"/><Relationship Id="rId7" Type="http://schemas.openxmlformats.org/officeDocument/2006/relationships/image" Target="../media/image64.png"/><Relationship Id="rId12" Type="http://schemas.openxmlformats.org/officeDocument/2006/relationships/image" Target="../media/image6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63.png"/><Relationship Id="rId11" Type="http://schemas.openxmlformats.org/officeDocument/2006/relationships/image" Target="../media/image68.jpeg"/><Relationship Id="rId5" Type="http://schemas.openxmlformats.org/officeDocument/2006/relationships/image" Target="../media/image62.png"/><Relationship Id="rId10" Type="http://schemas.openxmlformats.org/officeDocument/2006/relationships/image" Target="../media/image67.jpeg"/><Relationship Id="rId4" Type="http://schemas.openxmlformats.org/officeDocument/2006/relationships/image" Target="../media/image61.png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63" Type="http://schemas.openxmlformats.org/officeDocument/2006/relationships/image" Target="../media/image12.jpeg"/><Relationship Id="rId68" Type="http://schemas.openxmlformats.org/officeDocument/2006/relationships/image" Target="../media/image17.png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slideLayout" Target="../slideLayouts/slideLayout39.xml"/><Relationship Id="rId66" Type="http://schemas.openxmlformats.org/officeDocument/2006/relationships/image" Target="../media/image15.png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61" Type="http://schemas.openxmlformats.org/officeDocument/2006/relationships/image" Target="../media/image10.jpeg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image" Target="../media/image9.jpeg"/><Relationship Id="rId65" Type="http://schemas.openxmlformats.org/officeDocument/2006/relationships/image" Target="../media/image14.jpe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image" Target="../media/image13.jpeg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notesSlide" Target="../notesSlides/notesSlide2.xml"/><Relationship Id="rId67" Type="http://schemas.openxmlformats.org/officeDocument/2006/relationships/image" Target="../media/image16.png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19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2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30.png"/><Relationship Id="rId4" Type="http://schemas.openxmlformats.org/officeDocument/2006/relationships/image" Target="../media/image2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4313" y="285750"/>
            <a:ext cx="7929562" cy="720725"/>
          </a:xfrm>
        </p:spPr>
        <p:txBody>
          <a:bodyPr rtlCol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500" dirty="0" smtClean="0"/>
              <a:t>LTE as a Video &amp; TV</a:t>
            </a:r>
            <a:br>
              <a:rPr lang="en-GB" sz="4500" dirty="0" smtClean="0"/>
            </a:br>
            <a:r>
              <a:rPr lang="en-GB" sz="4500" dirty="0" smtClean="0"/>
              <a:t>Distribution Network</a:t>
            </a:r>
            <a:endParaRPr lang="en-GB" sz="4500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34950" y="1633538"/>
            <a:ext cx="7240588" cy="1201737"/>
          </a:xfrm>
        </p:spPr>
        <p:txBody>
          <a:bodyPr rtlCol="0"/>
          <a:lstStyle/>
          <a:p>
            <a:pPr eaLnBrk="1" fontAlgn="auto" hangingPunct="1">
              <a:spcBef>
                <a:spcPts val="0"/>
              </a:spcBef>
              <a:buFont typeface="Arial" pitchFamily="34" charset="0"/>
              <a:buNone/>
              <a:defRPr/>
            </a:pPr>
            <a:r>
              <a:rPr sz="3200" dirty="0" smtClean="0"/>
              <a:t>THE MOBILE VIDEO ECOSYSTEM</a:t>
            </a:r>
          </a:p>
          <a:p>
            <a:pPr eaLnBrk="1" fontAlgn="auto" hangingPunct="1">
              <a:spcBef>
                <a:spcPts val="0"/>
              </a:spcBef>
              <a:buFont typeface="Arial" pitchFamily="34" charset="0"/>
              <a:buNone/>
              <a:defRPr/>
            </a:pPr>
            <a:endParaRPr dirty="0"/>
          </a:p>
        </p:txBody>
      </p:sp>
      <p:sp>
        <p:nvSpPr>
          <p:cNvPr id="4" name="Subtitle 2"/>
          <p:cNvSpPr txBox="1">
            <a:spLocks/>
          </p:cNvSpPr>
          <p:nvPr/>
        </p:nvSpPr>
        <p:spPr bwMode="auto">
          <a:xfrm>
            <a:off x="1619672" y="4585692"/>
            <a:ext cx="7240588" cy="100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75000"/>
              </a:lnSpc>
              <a:spcBef>
                <a:spcPct val="0"/>
              </a:spcBef>
              <a:spcAft>
                <a:spcPts val="900"/>
              </a:spcAft>
              <a:buFont typeface="Arial" charset="0"/>
              <a:buNone/>
              <a:defRPr lang="en-GB" sz="5200" b="0" kern="1200" dirty="0">
                <a:solidFill>
                  <a:schemeClr val="bg1"/>
                </a:solidFill>
                <a:latin typeface="EE Nobblee Light" pitchFamily="2" charset="0"/>
                <a:ea typeface="+mj-ea"/>
                <a:cs typeface="+mj-cs"/>
              </a:defRPr>
            </a:lvl1pPr>
            <a:lvl2pPr marL="457200" indent="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Arial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fontAlgn="auto" hangingPunct="1">
              <a:spcBef>
                <a:spcPts val="0"/>
              </a:spcBef>
              <a:buFont typeface="Arial" pitchFamily="34" charset="0"/>
              <a:buNone/>
              <a:defRPr/>
            </a:pPr>
            <a:r>
              <a:rPr lang="en-GB" sz="3200" dirty="0" smtClean="0"/>
              <a:t>Bob Sleigh</a:t>
            </a:r>
          </a:p>
          <a:p>
            <a:pPr algn="r" eaLnBrk="1" fontAlgn="auto" hangingPunct="1">
              <a:spcBef>
                <a:spcPts val="0"/>
              </a:spcBef>
              <a:defRPr/>
            </a:pPr>
            <a:r>
              <a:rPr lang="en-GB" sz="3200" dirty="0" smtClean="0"/>
              <a:t>UKNOF27 Manchester	 </a:t>
            </a:r>
            <a:r>
              <a:rPr lang="en-GB" sz="3200" dirty="0"/>
              <a:t>21</a:t>
            </a:r>
            <a:r>
              <a:rPr lang="en-GB" sz="3200" baseline="30000" dirty="0"/>
              <a:t>st</a:t>
            </a:r>
            <a:r>
              <a:rPr lang="en-GB" sz="3200" dirty="0"/>
              <a:t> Jan 2014</a:t>
            </a:r>
          </a:p>
          <a:p>
            <a:pPr algn="r" eaLnBrk="1" fontAlgn="auto" hangingPunct="1">
              <a:spcBef>
                <a:spcPts val="0"/>
              </a:spcBef>
              <a:buFont typeface="Arial" pitchFamily="34" charset="0"/>
              <a:buNone/>
              <a:defRPr/>
            </a:pPr>
            <a:endParaRPr lang="en-GB" sz="3200" dirty="0" smtClean="0"/>
          </a:p>
          <a:p>
            <a:pPr algn="r" eaLnBrk="1" fontAlgn="auto" hangingPunct="1">
              <a:spcBef>
                <a:spcPts val="0"/>
              </a:spcBef>
              <a:buFont typeface="Arial" pitchFamily="34" charset="0"/>
              <a:buNone/>
              <a:defRPr/>
            </a:pP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285750" y="428625"/>
            <a:ext cx="8501063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>Caching mobile video</a:t>
            </a:r>
            <a: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/>
            </a:r>
            <a:b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</a:br>
            <a:r>
              <a:rPr lang="en-GB" sz="2400" dirty="0">
                <a:solidFill>
                  <a:srgbClr val="34A1A0"/>
                </a:solidFill>
                <a:latin typeface="Rubrik Light" pitchFamily="50" charset="0"/>
                <a:ea typeface="+mj-ea"/>
                <a:cs typeface="+mj-cs"/>
              </a:rPr>
              <a:t>Pro’s and con’s of caching video within a mobile network</a:t>
            </a:r>
          </a:p>
        </p:txBody>
      </p:sp>
      <p:sp>
        <p:nvSpPr>
          <p:cNvPr id="14" name="Rectangle 13"/>
          <p:cNvSpPr/>
          <p:nvPr/>
        </p:nvSpPr>
        <p:spPr>
          <a:xfrm>
            <a:off x="8429625" y="357188"/>
            <a:ext cx="285750" cy="214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2" name="Group 99"/>
          <p:cNvGrpSpPr>
            <a:grpSpLocks/>
          </p:cNvGrpSpPr>
          <p:nvPr/>
        </p:nvGrpSpPr>
        <p:grpSpPr bwMode="auto">
          <a:xfrm>
            <a:off x="3397250" y="2638425"/>
            <a:ext cx="2938463" cy="2719388"/>
            <a:chOff x="3397250" y="2638425"/>
            <a:chExt cx="2938463" cy="2719423"/>
          </a:xfrm>
        </p:grpSpPr>
        <p:pic>
          <p:nvPicPr>
            <p:cNvPr id="108598" name="Picture 83" descr="Spectrum bar.jp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212829">
              <a:off x="3513138" y="2638425"/>
              <a:ext cx="1601787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599" name="Picture 84" descr="Spectrum bar.jp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1911687">
              <a:off x="3571875" y="3270250"/>
              <a:ext cx="1600200" cy="127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600" name="TextBox 59"/>
            <p:cNvSpPr txBox="1">
              <a:spLocks noChangeArrowheads="1"/>
            </p:cNvSpPr>
            <p:nvPr/>
          </p:nvSpPr>
          <p:spPr bwMode="auto">
            <a:xfrm>
              <a:off x="5143500" y="3214695"/>
              <a:ext cx="1192213" cy="4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 sz="2000" b="1">
                  <a:solidFill>
                    <a:schemeClr val="tx2"/>
                  </a:solidFill>
                  <a:latin typeface="Rubrik Regular" pitchFamily="2" charset="0"/>
                </a:defRPr>
              </a:lvl1pPr>
              <a:lvl2pPr marL="742950" indent="-285750"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>
                  <a:solidFill>
                    <a:schemeClr val="tx1"/>
                  </a:solidFill>
                  <a:latin typeface="Rubrik Regular" pitchFamily="2" charset="0"/>
                </a:defRPr>
              </a:lvl2pPr>
              <a:lvl3pPr marL="11430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3pPr>
              <a:lvl4pPr marL="16002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4pPr>
              <a:lvl5pPr marL="20574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r>
                <a:rPr lang="en-GB" altLang="en-US" sz="1000" b="0" dirty="0" smtClean="0">
                  <a:solidFill>
                    <a:srgbClr val="525355"/>
                  </a:solidFill>
                  <a:ea typeface="ＭＳ Ｐゴシック" pitchFamily="34" charset="-128"/>
                </a:rPr>
                <a:t>Aggregation </a:t>
              </a:r>
              <a:endParaRPr lang="en-GB" altLang="en-US" sz="1000" b="0" dirty="0">
                <a:solidFill>
                  <a:srgbClr val="525355"/>
                </a:solidFill>
                <a:ea typeface="ＭＳ Ｐゴシック" pitchFamily="34" charset="-128"/>
              </a:endParaRP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r>
                <a:rPr lang="en-GB" altLang="en-US" sz="1000" b="0" dirty="0" smtClean="0">
                  <a:solidFill>
                    <a:srgbClr val="525355"/>
                  </a:solidFill>
                  <a:ea typeface="ＭＳ Ｐゴシック" pitchFamily="34" charset="-128"/>
                </a:rPr>
                <a:t>Sites</a:t>
              </a:r>
              <a:endParaRPr lang="en-GB" altLang="en-US" sz="1000" b="0" dirty="0">
                <a:solidFill>
                  <a:srgbClr val="525355"/>
                </a:solidFill>
                <a:ea typeface="ＭＳ Ｐゴシック" pitchFamily="34" charset="-128"/>
              </a:endParaRPr>
            </a:p>
          </p:txBody>
        </p:sp>
        <p:sp>
          <p:nvSpPr>
            <p:cNvPr id="68" name="Rounded Rectangular Callout 67"/>
            <p:cNvSpPr/>
            <p:nvPr/>
          </p:nvSpPr>
          <p:spPr bwMode="auto">
            <a:xfrm rot="10800000">
              <a:off x="3397250" y="4143394"/>
              <a:ext cx="2636838" cy="1214454"/>
            </a:xfrm>
            <a:prstGeom prst="wedgeRoundRectCallout">
              <a:avLst>
                <a:gd name="adj1" fmla="val -32429"/>
                <a:gd name="adj2" fmla="val 82417"/>
                <a:gd name="adj3" fmla="val 16667"/>
              </a:avLst>
            </a:prstGeom>
            <a:solidFill>
              <a:schemeClr val="bg1"/>
            </a:solidFill>
            <a:ln w="19050">
              <a:solidFill>
                <a:srgbClr val="1696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08602" name="Picture 18" descr="http://www.takeinitiative.co.uk/wp-content/2010/03/thumb-tick-cross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59331" y="4340542"/>
              <a:ext cx="282556" cy="303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603" name="Picture 18" descr="http://www.takeinitiative.co.uk/wp-content/2010/03/thumb-tick-cross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64156" y="4762450"/>
              <a:ext cx="282556" cy="303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604" name="TextBox 92"/>
            <p:cNvSpPr txBox="1">
              <a:spLocks noChangeArrowheads="1"/>
            </p:cNvSpPr>
            <p:nvPr/>
          </p:nvSpPr>
          <p:spPr bwMode="auto">
            <a:xfrm>
              <a:off x="3479800" y="4214833"/>
              <a:ext cx="2270125" cy="10620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 sz="2000" b="1">
                  <a:solidFill>
                    <a:schemeClr val="tx2"/>
                  </a:solidFill>
                  <a:latin typeface="Rubrik Regular" pitchFamily="2" charset="0"/>
                </a:defRPr>
              </a:lvl1pPr>
              <a:lvl2pPr marL="742950" indent="-285750"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>
                  <a:solidFill>
                    <a:schemeClr val="tx1"/>
                  </a:solidFill>
                  <a:latin typeface="Rubrik Regular" pitchFamily="2" charset="0"/>
                </a:defRPr>
              </a:lvl2pPr>
              <a:lvl3pPr marL="11430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3pPr>
              <a:lvl4pPr marL="16002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4pPr>
              <a:lvl5pPr marL="20574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700" b="0" dirty="0">
                  <a:solidFill>
                    <a:srgbClr val="363739"/>
                  </a:solidFill>
                  <a:ea typeface="ＭＳ Ｐゴシック" pitchFamily="34" charset="-128"/>
                </a:rPr>
                <a:t> </a:t>
              </a: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Can be deployed </a:t>
              </a:r>
              <a:r>
                <a:rPr lang="en-GB" altLang="en-US" sz="800" b="0" dirty="0" smtClean="0">
                  <a:solidFill>
                    <a:srgbClr val="363739"/>
                  </a:solidFill>
                  <a:ea typeface="ＭＳ Ｐゴシック" pitchFamily="34" charset="-128"/>
                </a:rPr>
                <a:t>in smaller numbers</a:t>
              </a:r>
              <a:endParaRPr lang="en-GB" altLang="en-US" sz="800" b="0" dirty="0">
                <a:solidFill>
                  <a:srgbClr val="363739"/>
                </a:solidFill>
                <a:ea typeface="ＭＳ Ｐゴシック" pitchFamily="34" charset="-128"/>
              </a:endParaRP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Helps with internet bottlenecks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700" b="0" dirty="0">
                  <a:solidFill>
                    <a:srgbClr val="363739"/>
                  </a:solidFill>
                  <a:ea typeface="ＭＳ Ｐゴシック" pitchFamily="34" charset="-128"/>
                </a:rPr>
                <a:t> </a:t>
              </a: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Supports operator </a:t>
              </a:r>
              <a:r>
                <a:rPr lang="en-GB" altLang="en-US" sz="800" b="0" dirty="0" smtClean="0">
                  <a:solidFill>
                    <a:srgbClr val="363739"/>
                  </a:solidFill>
                  <a:ea typeface="ＭＳ Ｐゴシック" pitchFamily="34" charset="-128"/>
                </a:rPr>
                <a:t>optimisation</a:t>
              </a:r>
              <a:endParaRPr lang="en-GB" altLang="en-US" sz="800" b="0" dirty="0">
                <a:solidFill>
                  <a:srgbClr val="363739"/>
                </a:solidFill>
                <a:ea typeface="ＭＳ Ｐゴシック" pitchFamily="34" charset="-128"/>
              </a:endParaRP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endParaRPr lang="en-GB" altLang="en-US" sz="700" b="0" dirty="0">
                <a:solidFill>
                  <a:srgbClr val="363739"/>
                </a:solidFill>
                <a:ea typeface="ＭＳ Ｐゴシック" pitchFamily="34" charset="-128"/>
              </a:endParaRP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Suboptimal for YouTube (unless using GGC)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</a:t>
              </a:r>
              <a:r>
                <a:rPr lang="en-GB" altLang="en-US" sz="800" b="0" dirty="0" smtClean="0">
                  <a:solidFill>
                    <a:srgbClr val="363739"/>
                  </a:solidFill>
                  <a:ea typeface="ＭＳ Ｐゴシック" pitchFamily="34" charset="-128"/>
                </a:rPr>
                <a:t>Unless optimisation </a:t>
              </a: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platform installed limited advantages over using CDN</a:t>
              </a:r>
            </a:p>
          </p:txBody>
        </p:sp>
        <p:pic>
          <p:nvPicPr>
            <p:cNvPr id="108605" name="Picture 78" descr="Block.gif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57738" y="2701925"/>
              <a:ext cx="903287" cy="549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" name="Group 96"/>
          <p:cNvGrpSpPr>
            <a:grpSpLocks/>
          </p:cNvGrpSpPr>
          <p:nvPr/>
        </p:nvGrpSpPr>
        <p:grpSpPr bwMode="auto">
          <a:xfrm>
            <a:off x="36513" y="-228600"/>
            <a:ext cx="1814512" cy="3875088"/>
            <a:chOff x="36513" y="-228600"/>
            <a:chExt cx="1814512" cy="3875087"/>
          </a:xfrm>
        </p:grpSpPr>
        <p:sp>
          <p:nvSpPr>
            <p:cNvPr id="108590" name="AutoShape 14" descr="https://www.linx.net/images/linx-logos/linx-logo2.jpg"/>
            <p:cNvSpPr>
              <a:spLocks noChangeAspect="1" noChangeArrowheads="1"/>
            </p:cNvSpPr>
            <p:nvPr/>
          </p:nvSpPr>
          <p:spPr bwMode="auto">
            <a:xfrm>
              <a:off x="155575" y="-228600"/>
              <a:ext cx="1695450" cy="484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 sz="2000" b="1">
                  <a:solidFill>
                    <a:schemeClr val="tx2"/>
                  </a:solidFill>
                  <a:latin typeface="Rubrik Regular" pitchFamily="2" charset="0"/>
                </a:defRPr>
              </a:lvl1pPr>
              <a:lvl2pPr marL="742950" indent="-285750"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>
                  <a:solidFill>
                    <a:schemeClr val="tx1"/>
                  </a:solidFill>
                  <a:latin typeface="Rubrik Regular" pitchFamily="2" charset="0"/>
                </a:defRPr>
              </a:lvl2pPr>
              <a:lvl3pPr marL="11430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3pPr>
              <a:lvl4pPr marL="16002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4pPr>
              <a:lvl5pPr marL="20574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endParaRPr lang="en-GB" altLang="en-US" sz="1800" b="0">
                <a:solidFill>
                  <a:srgbClr val="6D6E71"/>
                </a:solidFill>
              </a:endParaRPr>
            </a:p>
          </p:txBody>
        </p:sp>
        <p:sp>
          <p:nvSpPr>
            <p:cNvPr id="49" name="Rounded Rectangular Callout 48"/>
            <p:cNvSpPr/>
            <p:nvPr/>
          </p:nvSpPr>
          <p:spPr bwMode="auto">
            <a:xfrm>
              <a:off x="155575" y="1000125"/>
              <a:ext cx="1630363" cy="911225"/>
            </a:xfrm>
            <a:prstGeom prst="wedgeRoundRectCallout">
              <a:avLst>
                <a:gd name="adj1" fmla="val -25212"/>
                <a:gd name="adj2" fmla="val 106111"/>
                <a:gd name="adj3" fmla="val 16667"/>
              </a:avLst>
            </a:prstGeom>
            <a:solidFill>
              <a:schemeClr val="bg1"/>
            </a:solidFill>
            <a:ln w="19050">
              <a:solidFill>
                <a:srgbClr val="1696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08592" name="Group 66"/>
            <p:cNvGrpSpPr>
              <a:grpSpLocks/>
            </p:cNvGrpSpPr>
            <p:nvPr/>
          </p:nvGrpSpPr>
          <p:grpSpPr bwMode="auto">
            <a:xfrm>
              <a:off x="36513" y="1071550"/>
              <a:ext cx="1674790" cy="2574937"/>
              <a:chOff x="36513" y="1285872"/>
              <a:chExt cx="1674790" cy="3089985"/>
            </a:xfrm>
          </p:grpSpPr>
          <p:pic>
            <p:nvPicPr>
              <p:cNvPr id="108594" name="Picture 2" descr="http://news.telecomseva.com/wp-content/uploads/2012/01/samsung-smartphone-tablet.jp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7188" y="3151188"/>
                <a:ext cx="808037" cy="7207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8595" name="TextBox 44"/>
              <p:cNvSpPr txBox="1">
                <a:spLocks noChangeArrowheads="1"/>
              </p:cNvSpPr>
              <p:nvPr/>
            </p:nvSpPr>
            <p:spPr bwMode="auto">
              <a:xfrm>
                <a:off x="214313" y="1285888"/>
                <a:ext cx="1338262" cy="8496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5000"/>
                  </a:lnSpc>
                  <a:spcAft>
                    <a:spcPts val="900"/>
                  </a:spcAft>
                  <a:buFont typeface="Arial" charset="0"/>
                  <a:defRPr sz="2000" b="1">
                    <a:solidFill>
                      <a:schemeClr val="tx2"/>
                    </a:solidFill>
                    <a:latin typeface="Rubrik Regular" pitchFamily="2" charset="0"/>
                  </a:defRPr>
                </a:lvl1pPr>
                <a:lvl2pPr marL="742950" indent="-285750" eaLnBrk="0" hangingPunct="0">
                  <a:lnSpc>
                    <a:spcPct val="95000"/>
                  </a:lnSpc>
                  <a:spcAft>
                    <a:spcPts val="900"/>
                  </a:spcAft>
                  <a:buFont typeface="Arial" charset="0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2pPr>
                <a:lvl3pPr marL="1143000" indent="-228600" eaLnBrk="0" hangingPunct="0">
                  <a:lnSpc>
                    <a:spcPct val="95000"/>
                  </a:lnSpc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3pPr>
                <a:lvl4pPr marL="1600200" indent="-228600" eaLnBrk="0" hangingPunct="0">
                  <a:lnSpc>
                    <a:spcPct val="95000"/>
                  </a:lnSpc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4pPr>
                <a:lvl5pPr marL="2057400" indent="-228600" eaLnBrk="0" hangingPunct="0">
                  <a:lnSpc>
                    <a:spcPct val="95000"/>
                  </a:lnSpc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5pPr>
                <a:lvl6pPr marL="25146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6pPr>
                <a:lvl7pPr marL="29718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7pPr>
                <a:lvl8pPr marL="34290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8pPr>
                <a:lvl9pPr marL="38862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Low cost delivery</a:t>
                </a:r>
              </a:p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Value add content</a:t>
                </a:r>
              </a:p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Tx/>
                  <a:buNone/>
                </a:pPr>
                <a:endPara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endParaRPr>
              </a:p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Disparate solutions</a:t>
                </a:r>
              </a:p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Complex integration</a:t>
                </a:r>
              </a:p>
            </p:txBody>
          </p:sp>
          <p:pic>
            <p:nvPicPr>
              <p:cNvPr id="108596" name="Picture 18" descr="http://www.takeinitiative.co.uk/wp-content/2010/03/thumb-tick-cross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28728" y="1285872"/>
                <a:ext cx="282575" cy="363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08597" name="TextBox 70"/>
              <p:cNvSpPr txBox="1">
                <a:spLocks noChangeArrowheads="1"/>
              </p:cNvSpPr>
              <p:nvPr/>
            </p:nvSpPr>
            <p:spPr bwMode="auto">
              <a:xfrm>
                <a:off x="36513" y="3895788"/>
                <a:ext cx="1382712" cy="4800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lnSpc>
                    <a:spcPct val="95000"/>
                  </a:lnSpc>
                  <a:spcAft>
                    <a:spcPts val="900"/>
                  </a:spcAft>
                  <a:buFont typeface="Arial" charset="0"/>
                  <a:defRPr sz="2000" b="1">
                    <a:solidFill>
                      <a:schemeClr val="tx2"/>
                    </a:solidFill>
                    <a:latin typeface="Rubrik Regular" pitchFamily="2" charset="0"/>
                  </a:defRPr>
                </a:lvl1pPr>
                <a:lvl2pPr marL="742950" indent="-285750" eaLnBrk="0" hangingPunct="0">
                  <a:lnSpc>
                    <a:spcPct val="95000"/>
                  </a:lnSpc>
                  <a:spcAft>
                    <a:spcPts val="900"/>
                  </a:spcAft>
                  <a:buFont typeface="Arial" charset="0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2pPr>
                <a:lvl3pPr marL="1143000" indent="-228600" eaLnBrk="0" hangingPunct="0">
                  <a:lnSpc>
                    <a:spcPct val="95000"/>
                  </a:lnSpc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3pPr>
                <a:lvl4pPr marL="1600200" indent="-228600" eaLnBrk="0" hangingPunct="0">
                  <a:lnSpc>
                    <a:spcPct val="95000"/>
                  </a:lnSpc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4pPr>
                <a:lvl5pPr marL="2057400" indent="-228600" eaLnBrk="0" hangingPunct="0">
                  <a:lnSpc>
                    <a:spcPct val="95000"/>
                  </a:lnSpc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5pPr>
                <a:lvl6pPr marL="25146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6pPr>
                <a:lvl7pPr marL="29718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7pPr>
                <a:lvl8pPr marL="34290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8pPr>
                <a:lvl9pPr marL="38862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FontTx/>
                  <a:buNone/>
                </a:pPr>
                <a:r>
                  <a:rPr lang="en-GB" altLang="en-US" sz="1000" b="0">
                    <a:solidFill>
                      <a:srgbClr val="525355"/>
                    </a:solidFill>
                    <a:ea typeface="ＭＳ Ｐゴシック" pitchFamily="34" charset="-128"/>
                  </a:rPr>
                  <a:t>Devices</a:t>
                </a:r>
              </a:p>
              <a:p>
                <a:pPr algn="ctr" eaLnBrk="1" hangingPunct="1">
                  <a:lnSpc>
                    <a:spcPct val="100000"/>
                  </a:lnSpc>
                  <a:spcAft>
                    <a:spcPct val="0"/>
                  </a:spcAft>
                  <a:buFontTx/>
                  <a:buNone/>
                </a:pPr>
                <a:r>
                  <a:rPr lang="en-GB" altLang="en-US" sz="1000" b="0">
                    <a:solidFill>
                      <a:srgbClr val="525355"/>
                    </a:solidFill>
                    <a:ea typeface="ＭＳ Ｐゴシック" pitchFamily="34" charset="-128"/>
                  </a:rPr>
                  <a:t>(Multiple Millions)</a:t>
                </a:r>
              </a:p>
            </p:txBody>
          </p:sp>
        </p:grpSp>
        <p:pic>
          <p:nvPicPr>
            <p:cNvPr id="108593" name="Picture 18" descr="http://www.takeinitiative.co.uk/wp-content/2010/03/thumb-tick-cross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8728" y="1428740"/>
              <a:ext cx="282575" cy="3030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" name="Group 107"/>
          <p:cNvGrpSpPr>
            <a:grpSpLocks/>
          </p:cNvGrpSpPr>
          <p:nvPr/>
        </p:nvGrpSpPr>
        <p:grpSpPr bwMode="auto">
          <a:xfrm>
            <a:off x="357188" y="2089150"/>
            <a:ext cx="4168775" cy="3268663"/>
            <a:chOff x="357157" y="2089150"/>
            <a:chExt cx="4168806" cy="3268678"/>
          </a:xfrm>
        </p:grpSpPr>
        <p:pic>
          <p:nvPicPr>
            <p:cNvPr id="108579" name="Picture 85" descr="Spectrum bar.jp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40088" y="2397125"/>
              <a:ext cx="152400" cy="133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580" name="TextBox 58"/>
            <p:cNvSpPr txBox="1">
              <a:spLocks noChangeArrowheads="1"/>
            </p:cNvSpPr>
            <p:nvPr/>
          </p:nvSpPr>
          <p:spPr bwMode="auto">
            <a:xfrm>
              <a:off x="2714612" y="3835408"/>
              <a:ext cx="1811351" cy="24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 sz="2000" b="1">
                  <a:solidFill>
                    <a:schemeClr val="tx2"/>
                  </a:solidFill>
                  <a:latin typeface="Rubrik Regular" pitchFamily="2" charset="0"/>
                </a:defRPr>
              </a:lvl1pPr>
              <a:lvl2pPr marL="742950" indent="-285750"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>
                  <a:solidFill>
                    <a:schemeClr val="tx1"/>
                  </a:solidFill>
                  <a:latin typeface="Rubrik Regular" pitchFamily="2" charset="0"/>
                </a:defRPr>
              </a:lvl2pPr>
              <a:lvl3pPr marL="11430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3pPr>
              <a:lvl4pPr marL="16002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4pPr>
              <a:lvl5pPr marL="20574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r>
                <a:rPr lang="en-GB" altLang="en-US" sz="1000" b="0" dirty="0">
                  <a:solidFill>
                    <a:srgbClr val="525355"/>
                  </a:solidFill>
                  <a:ea typeface="ＭＳ Ｐゴシック" pitchFamily="34" charset="-128"/>
                </a:rPr>
                <a:t>Connectivity Sites (10’s)</a:t>
              </a:r>
            </a:p>
          </p:txBody>
        </p:sp>
        <p:pic>
          <p:nvPicPr>
            <p:cNvPr id="108581" name="Picture 75" descr="Block.gif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52750" y="3333750"/>
              <a:ext cx="904875" cy="550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5" name="Rounded Rectangular Callout 74"/>
            <p:cNvSpPr/>
            <p:nvPr/>
          </p:nvSpPr>
          <p:spPr bwMode="auto">
            <a:xfrm rot="10800000">
              <a:off x="357157" y="4500574"/>
              <a:ext cx="2628920" cy="857254"/>
            </a:xfrm>
            <a:prstGeom prst="wedgeRoundRectCallout">
              <a:avLst>
                <a:gd name="adj1" fmla="val -41874"/>
                <a:gd name="adj2" fmla="val 99426"/>
                <a:gd name="adj3" fmla="val 16667"/>
              </a:avLst>
            </a:prstGeom>
            <a:solidFill>
              <a:schemeClr val="bg1"/>
            </a:solidFill>
            <a:ln w="19050">
              <a:solidFill>
                <a:srgbClr val="1696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08583" name="TextBox 87"/>
            <p:cNvSpPr txBox="1">
              <a:spLocks noChangeArrowheads="1"/>
            </p:cNvSpPr>
            <p:nvPr/>
          </p:nvSpPr>
          <p:spPr bwMode="auto">
            <a:xfrm>
              <a:off x="428595" y="4608525"/>
              <a:ext cx="2251092" cy="5699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 sz="2000" b="1">
                  <a:solidFill>
                    <a:schemeClr val="tx2"/>
                  </a:solidFill>
                  <a:latin typeface="Rubrik Regular" pitchFamily="2" charset="0"/>
                </a:defRPr>
              </a:lvl1pPr>
              <a:lvl2pPr marL="742950" indent="-285750"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>
                  <a:solidFill>
                    <a:schemeClr val="tx1"/>
                  </a:solidFill>
                  <a:latin typeface="Rubrik Regular" pitchFamily="2" charset="0"/>
                </a:defRPr>
              </a:lvl2pPr>
              <a:lvl3pPr marL="11430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3pPr>
              <a:lvl4pPr marL="16002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4pPr>
              <a:lvl5pPr marL="20574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Reduces capacity on core infrastructure 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Aggregates multiple 1000’s of cell sites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endParaRPr lang="en-GB" altLang="en-US" sz="700" b="0" dirty="0">
                <a:solidFill>
                  <a:srgbClr val="363739"/>
                </a:solidFill>
                <a:ea typeface="ＭＳ Ｐゴシック" pitchFamily="34" charset="-128"/>
              </a:endParaRP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No benefit over </a:t>
              </a:r>
              <a:r>
                <a:rPr lang="en-GB" altLang="en-US" sz="800" b="0" dirty="0" smtClean="0">
                  <a:solidFill>
                    <a:srgbClr val="363739"/>
                  </a:solidFill>
                  <a:ea typeface="ＭＳ Ｐゴシック" pitchFamily="34" charset="-128"/>
                </a:rPr>
                <a:t>aggregation sites</a:t>
              </a: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.</a:t>
              </a:r>
            </a:p>
          </p:txBody>
        </p:sp>
        <p:pic>
          <p:nvPicPr>
            <p:cNvPr id="108584" name="Picture 18" descr="http://www.takeinitiative.co.uk/wp-content/2010/03/thumb-tick-cross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3174" y="4572012"/>
              <a:ext cx="282575" cy="302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585" name="Picture 18" descr="http://www.takeinitiative.co.uk/wp-content/2010/03/thumb-tick-cross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0628" y="4886669"/>
              <a:ext cx="282575" cy="30277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8" name="Straight Connector 37"/>
            <p:cNvCxnSpPr/>
            <p:nvPr/>
          </p:nvCxnSpPr>
          <p:spPr>
            <a:xfrm>
              <a:off x="2085957" y="2160588"/>
              <a:ext cx="1047758" cy="188913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flipV="1">
              <a:off x="2062145" y="2500315"/>
              <a:ext cx="1071570" cy="57944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flipV="1">
              <a:off x="2062145" y="3770321"/>
              <a:ext cx="1071570" cy="158751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8589" name="Picture 76" descr="Block.gif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3700" y="2089150"/>
              <a:ext cx="904875" cy="550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Group 106"/>
          <p:cNvGrpSpPr>
            <a:grpSpLocks/>
          </p:cNvGrpSpPr>
          <p:nvPr/>
        </p:nvGrpSpPr>
        <p:grpSpPr bwMode="auto">
          <a:xfrm>
            <a:off x="357188" y="857250"/>
            <a:ext cx="4714875" cy="3590925"/>
            <a:chOff x="357188" y="857201"/>
            <a:chExt cx="4714863" cy="3590974"/>
          </a:xfrm>
        </p:grpSpPr>
        <p:pic>
          <p:nvPicPr>
            <p:cNvPr id="108571" name="Picture 2" descr="tower, computer, phone, icon, wireless, transmitter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4175" y="1785938"/>
              <a:ext cx="654050" cy="544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572" name="Picture 2" descr="tower, computer, phone, icon, wireless, transmitter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4175" y="2738438"/>
              <a:ext cx="654050" cy="544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2" name="Rounded Rectangular Callout 41"/>
            <p:cNvSpPr/>
            <p:nvPr/>
          </p:nvSpPr>
          <p:spPr bwMode="auto">
            <a:xfrm>
              <a:off x="2357433" y="857201"/>
              <a:ext cx="2714618" cy="1214455"/>
            </a:xfrm>
            <a:prstGeom prst="wedgeRoundRectCallout">
              <a:avLst>
                <a:gd name="adj1" fmla="val -61251"/>
                <a:gd name="adj2" fmla="val 39731"/>
                <a:gd name="adj3" fmla="val 16667"/>
              </a:avLst>
            </a:prstGeom>
            <a:solidFill>
              <a:schemeClr val="bg1"/>
            </a:solidFill>
            <a:ln w="19050">
              <a:solidFill>
                <a:srgbClr val="1696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08574" name="TextBox 61"/>
            <p:cNvSpPr txBox="1">
              <a:spLocks noChangeArrowheads="1"/>
            </p:cNvSpPr>
            <p:nvPr/>
          </p:nvSpPr>
          <p:spPr bwMode="auto">
            <a:xfrm>
              <a:off x="2500308" y="955627"/>
              <a:ext cx="2143120" cy="954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 sz="2000" b="1">
                  <a:solidFill>
                    <a:schemeClr val="tx2"/>
                  </a:solidFill>
                  <a:latin typeface="Rubrik Regular" pitchFamily="2" charset="0"/>
                </a:defRPr>
              </a:lvl1pPr>
              <a:lvl2pPr marL="742950" indent="-285750"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>
                  <a:solidFill>
                    <a:schemeClr val="tx1"/>
                  </a:solidFill>
                  <a:latin typeface="Rubrik Regular" pitchFamily="2" charset="0"/>
                </a:defRPr>
              </a:lvl2pPr>
              <a:lvl3pPr marL="11430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3pPr>
              <a:lvl4pPr marL="16002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4pPr>
              <a:lvl5pPr marL="20574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700" b="0" dirty="0">
                  <a:solidFill>
                    <a:srgbClr val="363739"/>
                  </a:solidFill>
                  <a:ea typeface="ＭＳ Ｐゴシック" pitchFamily="34" charset="-128"/>
                </a:rPr>
                <a:t> </a:t>
              </a: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Efficient use of backhaul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Technology in development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Good for dense environment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Reduces latency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endParaRPr lang="en-GB" altLang="en-US" sz="800" b="0" dirty="0">
                <a:solidFill>
                  <a:srgbClr val="363739"/>
                </a:solidFill>
                <a:ea typeface="ＭＳ Ｐゴシック" pitchFamily="34" charset="-128"/>
              </a:endParaRP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Does not address spectral constraints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Number of users viewing same content</a:t>
              </a:r>
            </a:p>
          </p:txBody>
        </p:sp>
        <p:pic>
          <p:nvPicPr>
            <p:cNvPr id="108575" name="Picture 2" descr="tower, computer, phone, icon, wireless, transmitter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4175" y="3632200"/>
              <a:ext cx="654050" cy="5445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576" name="Picture 18" descr="http://www.takeinitiative.co.uk/wp-content/2010/03/thumb-tick-cross.jp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0305" y="984311"/>
              <a:ext cx="282575" cy="3436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577" name="TextBox 57"/>
            <p:cNvSpPr txBox="1">
              <a:spLocks noChangeArrowheads="1"/>
            </p:cNvSpPr>
            <p:nvPr/>
          </p:nvSpPr>
          <p:spPr bwMode="auto">
            <a:xfrm>
              <a:off x="357188" y="4048120"/>
              <a:ext cx="2382831" cy="400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 sz="2000" b="1">
                  <a:solidFill>
                    <a:schemeClr val="tx2"/>
                  </a:solidFill>
                  <a:latin typeface="Rubrik Regular" pitchFamily="2" charset="0"/>
                </a:defRPr>
              </a:lvl1pPr>
              <a:lvl2pPr marL="742950" indent="-285750"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>
                  <a:solidFill>
                    <a:schemeClr val="tx1"/>
                  </a:solidFill>
                  <a:latin typeface="Rubrik Regular" pitchFamily="2" charset="0"/>
                </a:defRPr>
              </a:lvl2pPr>
              <a:lvl3pPr marL="11430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3pPr>
              <a:lvl4pPr marL="16002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4pPr>
              <a:lvl5pPr marL="20574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r>
                <a:rPr lang="en-GB" altLang="en-US" sz="1000" b="0">
                  <a:solidFill>
                    <a:srgbClr val="525355"/>
                  </a:solidFill>
                  <a:ea typeface="ＭＳ Ｐゴシック" pitchFamily="34" charset="-128"/>
                </a:rPr>
                <a:t>Cell Sites</a:t>
              </a:r>
            </a:p>
            <a:p>
              <a:pPr algn="ctr"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r>
                <a:rPr lang="en-GB" altLang="en-US" sz="1000" b="0">
                  <a:solidFill>
                    <a:srgbClr val="525355"/>
                  </a:solidFill>
                  <a:ea typeface="ＭＳ Ｐゴシック" pitchFamily="34" charset="-128"/>
                </a:rPr>
                <a:t>(10’s of thousands)</a:t>
              </a:r>
            </a:p>
          </p:txBody>
        </p:sp>
        <p:pic>
          <p:nvPicPr>
            <p:cNvPr id="108578" name="Picture 18" descr="http://www.takeinitiative.co.uk/wp-content/2010/03/thumb-tick-cross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0305" y="1412942"/>
              <a:ext cx="282575" cy="3030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111"/>
          <p:cNvGrpSpPr>
            <a:grpSpLocks/>
          </p:cNvGrpSpPr>
          <p:nvPr/>
        </p:nvGrpSpPr>
        <p:grpSpPr bwMode="auto">
          <a:xfrm>
            <a:off x="5624513" y="1000125"/>
            <a:ext cx="2733675" cy="2638425"/>
            <a:chOff x="5625296" y="1000104"/>
            <a:chExt cx="2732980" cy="2638506"/>
          </a:xfrm>
        </p:grpSpPr>
        <p:sp>
          <p:nvSpPr>
            <p:cNvPr id="108564" name="TextBox 60"/>
            <p:cNvSpPr txBox="1">
              <a:spLocks noChangeArrowheads="1"/>
            </p:cNvSpPr>
            <p:nvPr/>
          </p:nvSpPr>
          <p:spPr bwMode="auto">
            <a:xfrm>
              <a:off x="6358535" y="3238548"/>
              <a:ext cx="1336335" cy="400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 sz="2000" b="1">
                  <a:solidFill>
                    <a:schemeClr val="tx2"/>
                  </a:solidFill>
                  <a:latin typeface="Rubrik Regular" pitchFamily="2" charset="0"/>
                </a:defRPr>
              </a:lvl1pPr>
              <a:lvl2pPr marL="742950" indent="-285750"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>
                  <a:solidFill>
                    <a:schemeClr val="tx1"/>
                  </a:solidFill>
                  <a:latin typeface="Rubrik Regular" pitchFamily="2" charset="0"/>
                </a:defRPr>
              </a:lvl2pPr>
              <a:lvl3pPr marL="11430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3pPr>
              <a:lvl4pPr marL="16002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4pPr>
              <a:lvl5pPr marL="20574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r>
                <a:rPr lang="en-GB" altLang="en-US" sz="1000" b="0" dirty="0">
                  <a:solidFill>
                    <a:srgbClr val="525355"/>
                  </a:solidFill>
                  <a:ea typeface="ＭＳ Ｐゴシック" pitchFamily="34" charset="-128"/>
                </a:rPr>
                <a:t>Co-location Data Centre </a:t>
              </a:r>
              <a:r>
                <a:rPr lang="en-GB" altLang="en-US" sz="1000" b="0" dirty="0" smtClean="0">
                  <a:solidFill>
                    <a:srgbClr val="525355"/>
                  </a:solidFill>
                  <a:ea typeface="ＭＳ Ｐゴシック" pitchFamily="34" charset="-128"/>
                </a:rPr>
                <a:t>London</a:t>
              </a:r>
              <a:endParaRPr lang="en-GB" altLang="en-US" sz="1000" b="0" dirty="0">
                <a:solidFill>
                  <a:srgbClr val="525355"/>
                </a:solidFill>
                <a:ea typeface="ＭＳ Ｐゴシック" pitchFamily="34" charset="-128"/>
              </a:endParaRPr>
            </a:p>
          </p:txBody>
        </p:sp>
        <p:sp>
          <p:nvSpPr>
            <p:cNvPr id="83" name="Rounded Rectangular Callout 82"/>
            <p:cNvSpPr/>
            <p:nvPr/>
          </p:nvSpPr>
          <p:spPr bwMode="auto">
            <a:xfrm>
              <a:off x="5644341" y="1000104"/>
              <a:ext cx="2713935" cy="682646"/>
            </a:xfrm>
            <a:prstGeom prst="wedgeRoundRectCallout">
              <a:avLst>
                <a:gd name="adj1" fmla="val 2500"/>
                <a:gd name="adj2" fmla="val 146212"/>
                <a:gd name="adj3" fmla="val 16667"/>
              </a:avLst>
            </a:prstGeom>
            <a:solidFill>
              <a:schemeClr val="bg1"/>
            </a:solidFill>
            <a:ln w="19050">
              <a:solidFill>
                <a:srgbClr val="1696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08566" name="Picture 80" descr="Spectrum bar.jpg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25296" y="2959877"/>
              <a:ext cx="1428743" cy="1119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567" name="TextBox 97"/>
            <p:cNvSpPr txBox="1">
              <a:spLocks noChangeArrowheads="1"/>
            </p:cNvSpPr>
            <p:nvPr/>
          </p:nvSpPr>
          <p:spPr bwMode="auto">
            <a:xfrm>
              <a:off x="5715760" y="1071544"/>
              <a:ext cx="2428257" cy="4616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 sz="2000" b="1">
                  <a:solidFill>
                    <a:schemeClr val="tx2"/>
                  </a:solidFill>
                  <a:latin typeface="Rubrik Regular" pitchFamily="2" charset="0"/>
                </a:defRPr>
              </a:lvl1pPr>
              <a:lvl2pPr marL="742950" indent="-285750" eaLnBrk="0" hangingPunct="0">
                <a:lnSpc>
                  <a:spcPct val="95000"/>
                </a:lnSpc>
                <a:spcAft>
                  <a:spcPts val="900"/>
                </a:spcAft>
                <a:buFont typeface="Arial" charset="0"/>
                <a:defRPr>
                  <a:solidFill>
                    <a:schemeClr val="tx1"/>
                  </a:solidFill>
                  <a:latin typeface="Rubrik Regular" pitchFamily="2" charset="0"/>
                </a:defRPr>
              </a:lvl2pPr>
              <a:lvl3pPr marL="11430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3pPr>
              <a:lvl4pPr marL="16002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4pPr>
              <a:lvl5pPr marL="2057400" indent="-228600" eaLnBrk="0" hangingPunct="0">
                <a:lnSpc>
                  <a:spcPct val="95000"/>
                </a:lnSpc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5pPr>
              <a:lvl6pPr marL="25146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6pPr>
              <a:lvl7pPr marL="29718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7pPr>
              <a:lvl8pPr marL="34290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8pPr>
              <a:lvl9pPr marL="3886200" indent="-228600" eaLnBrk="0" fontAlgn="base" hangingPunct="0">
                <a:lnSpc>
                  <a:spcPct val="95000"/>
                </a:lnSpc>
                <a:spcBef>
                  <a:spcPct val="0"/>
                </a:spcBef>
                <a:spcAft>
                  <a:spcPts val="900"/>
                </a:spcAft>
                <a:buFont typeface="Rubrik Regular" pitchFamily="2" charset="0"/>
                <a:buChar char="–"/>
                <a:defRPr>
                  <a:solidFill>
                    <a:schemeClr val="tx1"/>
                  </a:solidFill>
                  <a:latin typeface="Rubrik Regular" pitchFamily="2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525355"/>
                  </a:solidFill>
                  <a:ea typeface="ＭＳ Ｐゴシック" pitchFamily="34" charset="-128"/>
                </a:rPr>
                <a:t> </a:t>
              </a: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Hosting costs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Requires </a:t>
              </a:r>
              <a:r>
                <a:rPr lang="en-GB" altLang="en-US" sz="800" b="0" dirty="0" smtClean="0">
                  <a:solidFill>
                    <a:srgbClr val="363739"/>
                  </a:solidFill>
                  <a:ea typeface="ＭＳ Ｐゴシック" pitchFamily="34" charset="-128"/>
                </a:rPr>
                <a:t>redundant capacity</a:t>
              </a:r>
              <a:endParaRPr lang="en-GB" altLang="en-US" sz="800" b="0" dirty="0">
                <a:solidFill>
                  <a:srgbClr val="363739"/>
                </a:solidFill>
                <a:ea typeface="ＭＳ Ｐゴシック" pitchFamily="34" charset="-128"/>
              </a:endParaRP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 typeface="Arial" charset="0"/>
                <a:buChar char="•"/>
              </a:pPr>
              <a:r>
                <a: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rPr>
                <a:t> </a:t>
              </a:r>
              <a:r>
                <a:rPr lang="en-GB" altLang="en-US" sz="800" b="0" dirty="0" smtClean="0">
                  <a:solidFill>
                    <a:srgbClr val="363739"/>
                  </a:solidFill>
                  <a:ea typeface="ＭＳ Ｐゴシック" pitchFamily="34" charset="-128"/>
                </a:rPr>
                <a:t>Minor improvement in Latency</a:t>
              </a:r>
              <a:endParaRPr lang="en-GB" altLang="en-US" sz="800" b="0" dirty="0">
                <a:solidFill>
                  <a:srgbClr val="363739"/>
                </a:solidFill>
                <a:ea typeface="ＭＳ Ｐゴシック" pitchFamily="34" charset="-128"/>
              </a:endParaRPr>
            </a:p>
          </p:txBody>
        </p:sp>
        <p:pic>
          <p:nvPicPr>
            <p:cNvPr id="108568" name="Picture 18" descr="http://www.takeinitiative.co.uk/wp-content/2010/03/thumb-tick-cross.jp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9762" y="1071544"/>
              <a:ext cx="282575" cy="3030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569" name="Picture 10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2340" y="2349460"/>
              <a:ext cx="857250" cy="708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570" name="Picture 79" descr="Block.gif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34188" y="2727325"/>
              <a:ext cx="904875" cy="550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" name="Group 61"/>
          <p:cNvGrpSpPr>
            <a:grpSpLocks/>
          </p:cNvGrpSpPr>
          <p:nvPr/>
        </p:nvGrpSpPr>
        <p:grpSpPr bwMode="auto">
          <a:xfrm>
            <a:off x="6357938" y="3071813"/>
            <a:ext cx="2614612" cy="2214562"/>
            <a:chOff x="6357950" y="3071814"/>
            <a:chExt cx="2614601" cy="2214577"/>
          </a:xfrm>
        </p:grpSpPr>
        <p:grpSp>
          <p:nvGrpSpPr>
            <p:cNvPr id="108555" name="Group 59"/>
            <p:cNvGrpSpPr>
              <a:grpSpLocks/>
            </p:cNvGrpSpPr>
            <p:nvPr/>
          </p:nvGrpSpPr>
          <p:grpSpPr bwMode="auto">
            <a:xfrm>
              <a:off x="6357950" y="3071814"/>
              <a:ext cx="2614601" cy="2214577"/>
              <a:chOff x="6357950" y="3071814"/>
              <a:chExt cx="2614601" cy="2214577"/>
            </a:xfrm>
          </p:grpSpPr>
          <p:pic>
            <p:nvPicPr>
              <p:cNvPr id="108557" name="Picture 11" descr="http://t2.gstatic.com/images?q=tbn:ANd9GcQGghfcDkKJqgN7n5mRwIX3Ocri-bAVRys4i5XDi8vD78Oq6Bq9Iw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13684" y="3071814"/>
                <a:ext cx="882654" cy="2031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8558" name="Picture 7" descr="http://www.zdnet.com/i/story/60/01/029634/akamai-logo.jpg"/>
              <p:cNvPicPr>
                <a:picLocks noChangeAspect="1" noChangeArrowheads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00945" y="3214688"/>
                <a:ext cx="685803" cy="269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8559" name="Picture 9" descr="http://t2.gstatic.com/images?q=tbn:ANd9GcTwXgsaUkp-JHF1X1muPAZEee3yugiPPd1V90NVLooqsdgTd0iu"/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31186" y="3224213"/>
                <a:ext cx="741365" cy="3079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8560" name="Picture 16" descr="http://t2.gstatic.com/images?q=tbn:ANd9GcRhxO4mEN48A2SaD_PI2-zb7wa8MvQTDr1tDUEZvwiBp3b4xDkF_Q"/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80359" y="3495675"/>
                <a:ext cx="612778" cy="168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92" name="Rounded Rectangular Callout 55"/>
              <p:cNvSpPr/>
              <p:nvPr/>
            </p:nvSpPr>
            <p:spPr bwMode="auto">
              <a:xfrm rot="10800000">
                <a:off x="6357950" y="3929070"/>
                <a:ext cx="2586026" cy="1357321"/>
              </a:xfrm>
              <a:prstGeom prst="wedgeRoundRectCallout">
                <a:avLst>
                  <a:gd name="adj1" fmla="val -21780"/>
                  <a:gd name="adj2" fmla="val 62980"/>
                  <a:gd name="adj3" fmla="val 16667"/>
                </a:avLst>
              </a:prstGeom>
              <a:solidFill>
                <a:schemeClr val="bg1"/>
              </a:solidFill>
              <a:ln w="19050">
                <a:solidFill>
                  <a:srgbClr val="16968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8562" name="TextBox 64"/>
              <p:cNvSpPr txBox="1">
                <a:spLocks noChangeArrowheads="1"/>
              </p:cNvSpPr>
              <p:nvPr/>
            </p:nvSpPr>
            <p:spPr bwMode="auto">
              <a:xfrm>
                <a:off x="6429387" y="4000507"/>
                <a:ext cx="2285990" cy="107722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lnSpc>
                    <a:spcPct val="95000"/>
                  </a:lnSpc>
                  <a:spcAft>
                    <a:spcPts val="900"/>
                  </a:spcAft>
                  <a:buFont typeface="Arial" charset="0"/>
                  <a:defRPr sz="2000" b="1">
                    <a:solidFill>
                      <a:schemeClr val="tx2"/>
                    </a:solidFill>
                    <a:latin typeface="Rubrik Regular" pitchFamily="2" charset="0"/>
                  </a:defRPr>
                </a:lvl1pPr>
                <a:lvl2pPr marL="742950" indent="-285750" eaLnBrk="0" hangingPunct="0">
                  <a:lnSpc>
                    <a:spcPct val="95000"/>
                  </a:lnSpc>
                  <a:spcAft>
                    <a:spcPts val="900"/>
                  </a:spcAft>
                  <a:buFont typeface="Arial" charset="0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2pPr>
                <a:lvl3pPr marL="1143000" indent="-228600" eaLnBrk="0" hangingPunct="0">
                  <a:lnSpc>
                    <a:spcPct val="95000"/>
                  </a:lnSpc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3pPr>
                <a:lvl4pPr marL="1600200" indent="-228600" eaLnBrk="0" hangingPunct="0">
                  <a:lnSpc>
                    <a:spcPct val="95000"/>
                  </a:lnSpc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4pPr>
                <a:lvl5pPr marL="2057400" indent="-228600" eaLnBrk="0" hangingPunct="0">
                  <a:lnSpc>
                    <a:spcPct val="95000"/>
                  </a:lnSpc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5pPr>
                <a:lvl6pPr marL="25146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6pPr>
                <a:lvl7pPr marL="29718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7pPr>
                <a:lvl8pPr marL="34290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8pPr>
                <a:lvl9pPr marL="3886200" indent="-228600" eaLnBrk="0" fontAlgn="base" hangingPunct="0">
                  <a:lnSpc>
                    <a:spcPct val="95000"/>
                  </a:lnSpc>
                  <a:spcBef>
                    <a:spcPct val="0"/>
                  </a:spcBef>
                  <a:spcAft>
                    <a:spcPts val="900"/>
                  </a:spcAft>
                  <a:buFont typeface="Rubrik Regular" pitchFamily="2" charset="0"/>
                  <a:buChar char="–"/>
                  <a:defRPr>
                    <a:solidFill>
                      <a:schemeClr val="tx1"/>
                    </a:solidFill>
                    <a:latin typeface="Rubrik Regular" pitchFamily="2" charset="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Main CDN’s and content providers have a presence</a:t>
                </a:r>
              </a:p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Peering is inexpensive </a:t>
                </a:r>
              </a:p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 CDN’s are optimised for video</a:t>
                </a:r>
              </a:p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 No significant investment for </a:t>
                </a:r>
                <a:r>
                  <a:rPr lang="en-GB" altLang="en-US" sz="800" b="0" dirty="0" smtClean="0">
                    <a:solidFill>
                      <a:srgbClr val="363739"/>
                    </a:solidFill>
                    <a:ea typeface="ＭＳ Ｐゴシック" pitchFamily="34" charset="-128"/>
                  </a:rPr>
                  <a:t>operator  </a:t>
                </a: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/>
                </a:r>
                <a:b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</a:b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 owned and operated infrastructure</a:t>
                </a:r>
              </a:p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endPara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endParaRPr>
              </a:p>
              <a:p>
                <a:pPr eaLnBrk="1" hangingPunct="1">
                  <a:lnSpc>
                    <a:spcPct val="100000"/>
                  </a:lnSpc>
                  <a:spcAft>
                    <a:spcPct val="0"/>
                  </a:spcAft>
                  <a:buFont typeface="Arial" charset="0"/>
                  <a:buChar char="•"/>
                </a:pPr>
                <a:r>
                  <a:rPr lang="en-GB" altLang="en-US" sz="800" b="0" dirty="0">
                    <a:solidFill>
                      <a:srgbClr val="363739"/>
                    </a:solidFill>
                    <a:ea typeface="ＭＳ Ｐゴシック" pitchFamily="34" charset="-128"/>
                  </a:rPr>
                  <a:t> No opportunity for </a:t>
                </a:r>
                <a:r>
                  <a:rPr lang="en-GB" altLang="en-US" sz="800" b="0" dirty="0" smtClean="0">
                    <a:solidFill>
                      <a:srgbClr val="363739"/>
                    </a:solidFill>
                    <a:ea typeface="ＭＳ Ｐゴシック" pitchFamily="34" charset="-128"/>
                  </a:rPr>
                  <a:t>operator optimization</a:t>
                </a:r>
                <a:endParaRPr lang="en-GB" altLang="en-US" sz="800" b="0" dirty="0">
                  <a:solidFill>
                    <a:srgbClr val="363739"/>
                  </a:solidFill>
                  <a:ea typeface="ＭＳ Ｐゴシック" pitchFamily="34" charset="-128"/>
                </a:endParaRPr>
              </a:p>
            </p:txBody>
          </p:sp>
          <p:pic>
            <p:nvPicPr>
              <p:cNvPr id="108563" name="Picture 18" descr="http://www.takeinitiative.co.uk/wp-content/2010/03/thumb-tick-cross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09927" y="4286260"/>
                <a:ext cx="282555" cy="3031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08556" name="Picture 18" descr="http://www.takeinitiative.co.uk/wp-content/2010/03/thumb-tick-cross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9907" y="4786326"/>
              <a:ext cx="282575" cy="303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1" name="Slide Number Placeholder 6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5B6B4F9-0597-4FD7-AA57-41679CFB5FB4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Slide Number Placeholder 7"/>
          <p:cNvSpPr>
            <a:spLocks noGrp="1"/>
          </p:cNvSpPr>
          <p:nvPr>
            <p:ph type="sldNum" sz="quarter" idx="12"/>
          </p:nvPr>
        </p:nvSpPr>
        <p:spPr bwMode="auto">
          <a:xfrm>
            <a:off x="8604250" y="5165725"/>
            <a:ext cx="325438" cy="131763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24D587-C3CC-4B2C-8A90-79EAA532C5D2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GB" smtClean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60363" y="428625"/>
            <a:ext cx="8712200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>Multimedia broadcast technology</a:t>
            </a:r>
            <a: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/>
            </a:r>
            <a:b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</a:br>
            <a:r>
              <a:rPr lang="en-GB" sz="2400" dirty="0">
                <a:solidFill>
                  <a:srgbClr val="34A1A0"/>
                </a:solidFill>
                <a:latin typeface="Rubrik Light" pitchFamily="50" charset="0"/>
                <a:ea typeface="+mj-ea"/>
                <a:cs typeface="+mj-cs"/>
              </a:rPr>
              <a:t>How reduce video traffic using broadcast technology  </a:t>
            </a:r>
          </a:p>
        </p:txBody>
      </p:sp>
      <p:sp>
        <p:nvSpPr>
          <p:cNvPr id="112644" name="Slide Number Placeholder 4"/>
          <p:cNvSpPr txBox="1">
            <a:spLocks/>
          </p:cNvSpPr>
          <p:nvPr/>
        </p:nvSpPr>
        <p:spPr bwMode="auto">
          <a:xfrm>
            <a:off x="8604250" y="5165725"/>
            <a:ext cx="325438" cy="13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en-GB" altLang="en-US" sz="1800" b="0">
              <a:solidFill>
                <a:srgbClr val="6D6E71"/>
              </a:solidFill>
            </a:endParaRPr>
          </a:p>
        </p:txBody>
      </p:sp>
      <p:sp>
        <p:nvSpPr>
          <p:cNvPr id="112645" name="Content Placeholder 5"/>
          <p:cNvSpPr txBox="1">
            <a:spLocks/>
          </p:cNvSpPr>
          <p:nvPr/>
        </p:nvSpPr>
        <p:spPr bwMode="auto">
          <a:xfrm>
            <a:off x="285750" y="1705372"/>
            <a:ext cx="5849494" cy="3438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marL="171450" lvl="1" indent="-171450" eaLnBrk="1" hangingPunct="1">
              <a:buFont typeface="Arial" panose="020B0604020202020204" pitchFamily="34" charset="0"/>
              <a:buChar char="•"/>
            </a:pPr>
            <a:r>
              <a:rPr lang="en-GB" altLang="en-US" sz="1200" dirty="0" smtClean="0">
                <a:solidFill>
                  <a:srgbClr val="6D6E71"/>
                </a:solidFill>
              </a:rPr>
              <a:t>BBC &amp; Sky predict rise </a:t>
            </a:r>
            <a:r>
              <a:rPr lang="en-GB" altLang="en-US" sz="1200" dirty="0">
                <a:solidFill>
                  <a:srgbClr val="6D6E71"/>
                </a:solidFill>
              </a:rPr>
              <a:t>in linear TV </a:t>
            </a:r>
            <a:r>
              <a:rPr lang="en-GB" altLang="en-US" sz="1200" dirty="0" smtClean="0">
                <a:solidFill>
                  <a:srgbClr val="6D6E71"/>
                </a:solidFill>
              </a:rPr>
              <a:t>over </a:t>
            </a:r>
            <a:r>
              <a:rPr lang="en-GB" altLang="en-US" sz="1200" dirty="0">
                <a:solidFill>
                  <a:srgbClr val="6D6E71"/>
                </a:solidFill>
              </a:rPr>
              <a:t>the mobile </a:t>
            </a:r>
            <a:r>
              <a:rPr lang="en-GB" altLang="en-US" sz="1200" dirty="0" smtClean="0">
                <a:solidFill>
                  <a:srgbClr val="6D6E71"/>
                </a:solidFill>
              </a:rPr>
              <a:t>networks</a:t>
            </a:r>
          </a:p>
          <a:p>
            <a:pPr marL="171450" lvl="1" indent="-171450" eaLnBrk="1" hangingPunct="1">
              <a:buFont typeface="Arial" panose="020B0604020202020204" pitchFamily="34" charset="0"/>
              <a:buChar char="•"/>
            </a:pPr>
            <a:r>
              <a:rPr lang="en-GB" altLang="en-US" sz="1200" dirty="0" smtClean="0">
                <a:solidFill>
                  <a:srgbClr val="6D6E71"/>
                </a:solidFill>
              </a:rPr>
              <a:t>MNOs reviewing commercial/technical </a:t>
            </a:r>
            <a:r>
              <a:rPr lang="en-GB" altLang="en-US" sz="1200" dirty="0">
                <a:solidFill>
                  <a:srgbClr val="6D6E71"/>
                </a:solidFill>
              </a:rPr>
              <a:t>viability of </a:t>
            </a:r>
            <a:r>
              <a:rPr lang="en-GB" altLang="en-US" sz="1200" dirty="0" smtClean="0">
                <a:solidFill>
                  <a:srgbClr val="6D6E71"/>
                </a:solidFill>
              </a:rPr>
              <a:t>broadcast technologies</a:t>
            </a:r>
            <a:endParaRPr lang="en-GB" altLang="en-US" sz="1200" dirty="0">
              <a:solidFill>
                <a:srgbClr val="6D6E71"/>
              </a:solidFill>
            </a:endParaRPr>
          </a:p>
          <a:p>
            <a:pPr marL="171450" lvl="1" indent="-171450" eaLnBrk="1" hangingPunct="1">
              <a:buFont typeface="Arial" panose="020B0604020202020204" pitchFamily="34" charset="0"/>
              <a:buChar char="•"/>
            </a:pPr>
            <a:r>
              <a:rPr lang="en-GB" altLang="en-US" sz="1200" dirty="0">
                <a:solidFill>
                  <a:srgbClr val="6D6E71"/>
                </a:solidFill>
              </a:rPr>
              <a:t>The current technological standard for LTE is </a:t>
            </a:r>
            <a:r>
              <a:rPr lang="en-GB" altLang="en-US" sz="1200" dirty="0" err="1">
                <a:solidFill>
                  <a:srgbClr val="6D6E71"/>
                </a:solidFill>
              </a:rPr>
              <a:t>eMBMS</a:t>
            </a:r>
            <a:r>
              <a:rPr lang="en-GB" altLang="en-US" sz="1200" dirty="0">
                <a:solidFill>
                  <a:srgbClr val="6D6E71"/>
                </a:solidFill>
              </a:rPr>
              <a:t> </a:t>
            </a:r>
            <a:endParaRPr lang="en-GB" altLang="en-US" sz="1200" dirty="0" smtClean="0">
              <a:solidFill>
                <a:srgbClr val="6D6E71"/>
              </a:solidFill>
            </a:endParaRPr>
          </a:p>
          <a:p>
            <a:pPr marL="171450" lvl="1" indent="-171450" eaLnBrk="1" hangingPunct="1">
              <a:buFont typeface="Arial" panose="020B0604020202020204" pitchFamily="34" charset="0"/>
              <a:buChar char="•"/>
            </a:pPr>
            <a:endParaRPr lang="en-GB" altLang="en-US" sz="1200" dirty="0">
              <a:solidFill>
                <a:srgbClr val="6D6E71"/>
              </a:solidFill>
            </a:endParaRPr>
          </a:p>
          <a:p>
            <a:pPr marL="171450" lvl="1" indent="-171450" eaLnBrk="1" hangingPunct="1">
              <a:buFont typeface="Arial" panose="020B0604020202020204" pitchFamily="34" charset="0"/>
              <a:buChar char="•"/>
            </a:pPr>
            <a:r>
              <a:rPr lang="en-GB" altLang="en-US" sz="1200" b="1" dirty="0" smtClean="0">
                <a:solidFill>
                  <a:srgbClr val="6D6E71"/>
                </a:solidFill>
              </a:rPr>
              <a:t>evolved </a:t>
            </a:r>
            <a:r>
              <a:rPr lang="en-GB" altLang="en-US" sz="1200" b="1" dirty="0">
                <a:solidFill>
                  <a:srgbClr val="6D6E71"/>
                </a:solidFill>
              </a:rPr>
              <a:t>Multimedia Broadcast Multicast </a:t>
            </a:r>
            <a:r>
              <a:rPr lang="en-GB" altLang="en-US" sz="1200" b="1" dirty="0" smtClean="0">
                <a:solidFill>
                  <a:srgbClr val="6D6E71"/>
                </a:solidFill>
              </a:rPr>
              <a:t>Service</a:t>
            </a:r>
            <a:endParaRPr lang="en-GB" altLang="en-US" sz="1200" b="1" dirty="0">
              <a:solidFill>
                <a:srgbClr val="6D6E71"/>
              </a:solidFill>
            </a:endParaRPr>
          </a:p>
          <a:p>
            <a:pPr marL="0" lvl="1" eaLnBrk="1" hangingPunct="1">
              <a:spcAft>
                <a:spcPct val="0"/>
              </a:spcAft>
              <a:buFontTx/>
              <a:buNone/>
            </a:pPr>
            <a:endParaRPr lang="en-GB" altLang="en-US" sz="800" dirty="0" smtClean="0">
              <a:solidFill>
                <a:srgbClr val="6D6E71"/>
              </a:solidFill>
            </a:endParaRPr>
          </a:p>
          <a:p>
            <a:pPr marL="0" lvl="1" eaLnBrk="1" hangingPunct="1">
              <a:lnSpc>
                <a:spcPct val="150000"/>
              </a:lnSpc>
              <a:spcAft>
                <a:spcPct val="0"/>
              </a:spcAft>
              <a:buFont typeface="Arial" charset="0"/>
              <a:buChar char="•"/>
            </a:pPr>
            <a:r>
              <a:rPr lang="en-GB" altLang="en-US" sz="1200" dirty="0" smtClean="0">
                <a:solidFill>
                  <a:srgbClr val="6D6E71"/>
                </a:solidFill>
              </a:rPr>
              <a:t> </a:t>
            </a:r>
            <a:r>
              <a:rPr lang="en-GB" altLang="en-US" sz="1200" dirty="0">
                <a:solidFill>
                  <a:srgbClr val="6D6E71"/>
                </a:solidFill>
              </a:rPr>
              <a:t>Huawei </a:t>
            </a:r>
            <a:r>
              <a:rPr lang="en-GB" altLang="en-US" sz="1200" dirty="0" smtClean="0">
                <a:solidFill>
                  <a:srgbClr val="6D6E71"/>
                </a:solidFill>
              </a:rPr>
              <a:t>- technology </a:t>
            </a:r>
            <a:r>
              <a:rPr lang="en-GB" altLang="en-US" sz="1200" dirty="0">
                <a:solidFill>
                  <a:srgbClr val="6D6E71"/>
                </a:solidFill>
              </a:rPr>
              <a:t>centre  in Shenzhen for development </a:t>
            </a:r>
            <a:r>
              <a:rPr lang="en-GB" altLang="en-US" sz="1200" dirty="0" smtClean="0">
                <a:solidFill>
                  <a:srgbClr val="6D6E71"/>
                </a:solidFill>
              </a:rPr>
              <a:t>of </a:t>
            </a:r>
            <a:r>
              <a:rPr lang="en-GB" altLang="en-US" sz="1200" dirty="0" err="1" smtClean="0">
                <a:solidFill>
                  <a:srgbClr val="6D6E71"/>
                </a:solidFill>
              </a:rPr>
              <a:t>eMBMS</a:t>
            </a:r>
            <a:r>
              <a:rPr lang="en-GB" altLang="en-US" sz="1200" dirty="0" smtClean="0">
                <a:solidFill>
                  <a:srgbClr val="6D6E71"/>
                </a:solidFill>
              </a:rPr>
              <a:t> </a:t>
            </a:r>
          </a:p>
          <a:p>
            <a:pPr marL="0" lvl="1" eaLnBrk="1" hangingPunct="1">
              <a:lnSpc>
                <a:spcPct val="150000"/>
              </a:lnSpc>
              <a:spcAft>
                <a:spcPct val="0"/>
              </a:spcAft>
              <a:buFont typeface="Arial" charset="0"/>
              <a:buChar char="•"/>
            </a:pPr>
            <a:r>
              <a:rPr lang="en-GB" altLang="en-US" sz="1200" dirty="0" smtClean="0">
                <a:solidFill>
                  <a:srgbClr val="6D6E71"/>
                </a:solidFill>
              </a:rPr>
              <a:t> Qualcomm - demonstrated </a:t>
            </a:r>
            <a:r>
              <a:rPr lang="en-GB" altLang="en-US" sz="1200" dirty="0" err="1" smtClean="0">
                <a:solidFill>
                  <a:srgbClr val="6D6E71"/>
                </a:solidFill>
              </a:rPr>
              <a:t>eMBMS</a:t>
            </a:r>
            <a:r>
              <a:rPr lang="en-GB" altLang="en-US" sz="1200" dirty="0" smtClean="0">
                <a:solidFill>
                  <a:srgbClr val="6D6E71"/>
                </a:solidFill>
              </a:rPr>
              <a:t> with E/// at MWC2012</a:t>
            </a:r>
          </a:p>
          <a:p>
            <a:pPr marL="0" lvl="1" eaLnBrk="1" hangingPunct="1">
              <a:lnSpc>
                <a:spcPct val="150000"/>
              </a:lnSpc>
              <a:spcAft>
                <a:spcPct val="0"/>
              </a:spcAft>
              <a:buFont typeface="Arial" charset="0"/>
              <a:buChar char="•"/>
            </a:pPr>
            <a:r>
              <a:rPr lang="en-GB" altLang="en-US" sz="1200" dirty="0" smtClean="0">
                <a:solidFill>
                  <a:srgbClr val="6D6E71"/>
                </a:solidFill>
              </a:rPr>
              <a:t> Verizon - may do </a:t>
            </a:r>
            <a:r>
              <a:rPr lang="en-GB" altLang="en-US" sz="1200" dirty="0" err="1" smtClean="0">
                <a:solidFill>
                  <a:srgbClr val="6D6E71"/>
                </a:solidFill>
              </a:rPr>
              <a:t>Superbowl</a:t>
            </a:r>
            <a:r>
              <a:rPr lang="en-GB" altLang="en-US" sz="1200" dirty="0" smtClean="0">
                <a:solidFill>
                  <a:srgbClr val="6D6E71"/>
                </a:solidFill>
              </a:rPr>
              <a:t> 2014 over </a:t>
            </a:r>
            <a:r>
              <a:rPr lang="en-GB" altLang="en-US" sz="1200" dirty="0" err="1" smtClean="0">
                <a:solidFill>
                  <a:srgbClr val="6D6E71"/>
                </a:solidFill>
              </a:rPr>
              <a:t>eMBMS</a:t>
            </a:r>
            <a:endParaRPr lang="en-GB" altLang="en-US" sz="800" dirty="0">
              <a:solidFill>
                <a:srgbClr val="6D6E71"/>
              </a:solidFill>
            </a:endParaRPr>
          </a:p>
          <a:p>
            <a:pPr marL="0" lvl="1" eaLnBrk="1" hangingPunct="1">
              <a:buFontTx/>
              <a:buNone/>
            </a:pPr>
            <a:endParaRPr lang="en-GB" altLang="en-US" sz="800" dirty="0">
              <a:solidFill>
                <a:srgbClr val="6D6E7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429625" y="357188"/>
            <a:ext cx="285750" cy="214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286750" y="1000125"/>
            <a:ext cx="500063" cy="2857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pic>
        <p:nvPicPr>
          <p:cNvPr id="112648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5244" y="1458913"/>
            <a:ext cx="2500313" cy="366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Slide Number Placeholder 7"/>
          <p:cNvSpPr>
            <a:spLocks noGrp="1"/>
          </p:cNvSpPr>
          <p:nvPr>
            <p:ph type="sldNum" sz="quarter" idx="12"/>
          </p:nvPr>
        </p:nvSpPr>
        <p:spPr bwMode="auto">
          <a:xfrm>
            <a:off x="8604250" y="5165725"/>
            <a:ext cx="325438" cy="131763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1525B4-F7D9-4597-A8AF-8DA8E6363DAD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smtClean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60363" y="428625"/>
            <a:ext cx="8997950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Video distribution - Satellite</a:t>
            </a:r>
            <a: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/>
            </a:r>
            <a:b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GB" sz="2400" dirty="0">
                <a:solidFill>
                  <a:schemeClr val="tx2"/>
                </a:solidFill>
                <a:latin typeface="Rubrik Light" pitchFamily="50" charset="0"/>
                <a:ea typeface="+mj-ea"/>
                <a:cs typeface="+mj-cs"/>
              </a:rPr>
              <a:t>Comparing mobile video delivery with traditional methods </a:t>
            </a:r>
          </a:p>
        </p:txBody>
      </p:sp>
      <p:sp>
        <p:nvSpPr>
          <p:cNvPr id="32772" name="Slide Number Placeholder 4"/>
          <p:cNvSpPr txBox="1">
            <a:spLocks/>
          </p:cNvSpPr>
          <p:nvPr/>
        </p:nvSpPr>
        <p:spPr bwMode="auto">
          <a:xfrm>
            <a:off x="8604250" y="5165725"/>
            <a:ext cx="325438" cy="13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>
              <a:latin typeface="Rubrik Regular" pitchFamily="2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429625" y="357188"/>
            <a:ext cx="285750" cy="214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2774" name="AutoShape 2" descr="data:image/jpeg;base64,/9j/4AAQSkZJRgABAQAAAQABAAD/2wCEAAkGBhQSERUUExQWFRQVGBwYFhcYFhYXFxcVFRUVFhUVFBUYHCYfFxkkGRYXIC8gIycpLCwsFx8xNTAqNSYrLCkBCQoKDgwOGg8PGiokHyQ1LC4qKjAtLzAsMC0sKiosLywsLSkpLCwsKiksKS0sLC0pLCkpKSwsLCwsLCksLywtKf/AABEIAK4BIgMBIgACEQEDEQH/xAAcAAACAgMBAQAAAAAAAAAAAAAGBwAFAgMEAQj/xABREAABAgMFAggHCwoFAwUAAAABAgMABBEFBhIhMUFRBxMiYXGBkdIyU5OhsbPRFBUWFzNSVGJzdJIjJDQ1cpSiwdPwQoKytOIlRGNDg8LD4f/EABsBAQACAwEBAAAAAAAAAAAAAAADBAECBQYH/8QANBEAAgECBAMFBwQDAQEAAAAAAAECAxEEEiExE0FhBVFxgfAUFSKRobHhMpLB0QZSU/Ez/9oADAMBAAIRAxEAPwB4xIkeEwB7Eisn7dbaGZED09fsJ2U6aJHaqkAGkeVhar4Sh85HlWu/GPxl/WR5VrvwAzKxKws/jL+sjyzXfj34yfrI8sz34AZdYlYWnxk86PLM9+PfjI+s35ZnvwAyqxKwtPjI+s35Znvx78ZH1m/LM9+AGVWJWFr8Y/1m/LM9+J8Yx3t+WY/qQAyqxKwtfjH52/Lsf1I9+Mb6zfl2P6kAMmsSsLX4xj85vy7H9SPfjFPzm/Lsf1IAZNYlYW/xiHejyzP9SJ8Yh3o8sz34AZFYlYW3xiHe35Zn+pE+MQ72/LM9+AGVErC0+MU72/LM9+IeEQ72/LM9+AGVWPYWfxiHe35Znvx58Yqt6PLM9+AGbHlYWXxiq3o8sz349+MY70eVa78AMysewrZjhPwCqiKaZLQrzJUTHMOF5G+AG3EhUJ4VQd8ZjhS/uo9sANSJCyY4VEE0Ji9s6/7S6AmnTABhEjllLQS4Kgx1QBIkSJAEgdvFboaSc+bLMknRKRtJ/kSaAEi6nnsKCYXVvSq5gJQg0cmXlS7R2IZbBVNv03koKRzBI/xQBRyqZu03lIYUW20nlrB0roOM1KjuTQdOp7nbn2VKn87nGeM2hTgUrrFa+aBa/t9hLg2dZxLTDVUuuJNFvOaLqsZ0rkSNTzACFkqAHwmcu6MvdDR6l92J7uu549rsX3YQhjFRgB+e7buePa7F92IZm7n0hr+PuwkLJ4vH+VSFJyyJI9BEbLe9z8YkMoCU7aFR9JMbqLavc1b1sOhTt3PpDX8fdjHFdz6S1/F3YCbBuhKutBSmwTT5yx6FRum7sSKEH8iMW/G53o2yNbi65Blxl3PpDX8Xdj3jbu/SGv4u7ChmLJaTU4MtmavbGhmRZJzSO1XtivxDoTwMowzZo+HP7DmDt3fpDP8AF7I9x3d+kMfxeyFhZ1gSy1gFAoT85XegvPB1JYMmxX9tzvRJTvUvYo1Fw7Zi/Iu54+X/AIvZGCmbuH/uJfzwvLTuW0hRwgU6Ve2LCSu/IholxgKVvxuj0KjWcstySNKUkmkFypO7v0mX7DHiZG7v0mX/AIoXgsiXJVSXFNnKc0/FFLaFjBOYRQV3nTtjCncOk0OD3Jd76TL/AMXtie47u/SZb+L2womLGbUkcnPbmfbFpJ3VbIzar1q9sM5ZjgZvW6QyfcV3fpMt2n2x77ju79Ilu0+2FPNXeSlR/J0HSr2x2WbY0sojGgU/aV7YOViGFCU9hme5Lu+Plu0x6JO7vjpX8aoE7Su7ZyWqoZBXT57mv4oHl3Zbw4w0OjEr2xBDEKeyZPHAzlHNdevIaPua7vjZP8So89y3d8bKfjV7YTltSrSEjA0kHbmvLtVGlmz21NhVADuqfbE0ZXVytKnldrodPuS7vjZTyivbE9xXd8dKeUX7YW8pcrjUYksbNar9sUUxZKWllDrdD0nzZxvyuI03J2TQ5fcN3vHyvll96PDZ13fpEv5ZfehTsycsRTixi/aX7Yp7bYbRQITQ9JPpMCG+th2my7vfSmPLK9seGzLv/TGR/wC5CGZ0jOBkdj9gWMo/krSl0n6yh6cQjjnLhTCUF2TdbmmxmeJWFn8H8gSYT8ddl2s9LOBxhxTSxopBp1HYRzHKAGldO/TjbmBdaJ8LXk54eUDmnOg6TTdDpsi1A8gEGEfLW2i0mvdvFpE7KU92ISAEzUorkLcw/OCSQeb/AC0ObnTZYfXLlWJKTVB3tqzQSd9MuqAGREjALiQBUXitANpFSK0UoCoqeLQVmg25CB2ac9zcvbJ2YtQ+0dIqrpJY85iwvqMjzNPedhQitv2aN2nzSDQ7XJuAPnJwk5nMnU7ydTGkxtXGpUAYGMTGRjFUAb5GUKzzDUxptNIx0SawV8H0shxTyV0zCKdq6xjeC7raZoYTlSpHojNtLmVJNqCXmWdy3nA3hJyjhvFNLU6lCM6nZ/OOuz5oNqpUU9ME1kWQhxCyCAtQISTsJ0jXPm08WSZMr+VgOMuleBOIEnccgdM92caTY5DlCKDb0wazd0JZCwriVFQUlOMOpzURXHhJyAI0i1tGyW0DEaE0FdNaaxDRlxFeJalGMJJVRaTDBacScRAgzsZ1TtBirlnArP2aXn6V5IPbBbZrSZehr/YjZVoQmk+ZNLByqwlKnstjmvDJlBCa6xY2Fd4LRmawH3uvTidFNI6bq3lfccwMtOO7whCl4dxOEZDpi3GnBVLPZnLnWm6fw7oKLQuk4qoaWhAArVQJrrkKaaawM2hduYSpHHKQuqsGIVHIVriBA0Oh30hhe5HlpKnmXEISUk8rCcQUKAhKsVOUcqUgdsyWDjimwlSuMJqlaySo1qPCNEjoinXqOFZxjtyLdCjGdBTlo+bKez7pLbUQrQQV2RMtYSk0qnIx1vzuBXFuNqbUdApJGzZsI6I53rAQ2FOjLFmYzhq8p3U42IpwnKLyt2BS9VrtkFKRVSdeaB9q1WeLFfCppGdqT7SVrpQkmCK61321yqXUsNLWsqzdqQnCcsKdKUGtNTG9ScY3k0ZpKekYsGZW0wpfNsiym7bwowgR0XjkEISAWmmnqlQW1UIcTWlAk+CfNlFEyoLBFc9KRmMlOFkjEVaqs70OWaWMQUo8k680eTSGkqTRQwkgmOK05dSGs9p/nFdIMYlVIqIwtTaslGVu8+jbv2k17nQUgEUhScK1opcmU4BSmsW1n2uZWUxeFlv80B84h+fcxJbIHm7YuTTUbPmUYtZtDZdiwHZlRWk5CPb1XbcbTxqvBBCeswyOD+7q5Zii9TrGHCqgCzlU8Y36VRmVOmoX52NFVk5WE01pGcYNaRnFQsEiRIkAFXBfOYLTYQfAfxS7g3oeSUUP+bCeqGc26UTMorapgJVzqaOA+cKhR3GNLTkvvLXrEw2p/wCXlP2nx2TDsYAz238h0RI0NeCOgeiJGQVl9PBV9k96pUVfCB8lan3Fn1s3FrfRJwk0NOJeqdg/JGlTFRwh/I2p9yY9dNRkHzquNRjauNSowDAxiqMjGKoAvLrulPGFOvJ9KolspUpypUanLni04PEJPugq2BHnK43W5ZGJYXXTqhGEnIn40OFka1XM23Pug5MrwlWBCUlS3DngSNTzmCyXn5BjJtUw6rEnlKwpRQKFSEjPSusc9nccxZsw4GyW3W6YwRyUpUUqKknOhrSogYaXUA74p1qs4PLax6zsnsjD4i86ju1ayT6X1+1g1mbEdenUtFtQTUq4xO6lUqTsOVM445yQJQVpmm30pzKalDoA1JbVrTmMc0veNwSimhMuA4qBumXF0zHGajP/AA1pHAJNSCypQGBzTMVpochprGlOagssFoZq9iqUZyrTs1fLbnZN8+/pfZ6s1yDCnVqKRkPTGu12XkiqqhMMKyrDSy0Cka5mKa+UwgMkGmcS1W4VFHKeWo1bRdmLD4PuzUw0y0MS3FBI3AHVR3ACpJ3Ax9I3VsFqz5ZEqwK4flF5YnFnwlq5zsGwADZCmuU6WWlzAoFghDat1KKURv8A8I7YMLtuTLlpEukCXcbUhTIBw1UnFiUCak1BGuQMZddZ3TdtB7PJx4kVpv4B09LBSFJNeWKYsqjaPPA7YFyuIdLq1hajUJoDQV21Oen84IXnEMoAUug0BWaknUVJ1NPRA03eBSi62FKUorKGykpBKs1IS2sA5dKSKVzjVpU5LXw/Pfbl+Nc041JU5W25/j+QrmbGZda4taAQSVDeFkklaTsVU1gLtSzsTRRXTLsgktyfxMkJUps0BDozSCTkF0OLCa0qN8L2XtcP42+NSl5JUHK1NCDoQB4Xmz12xaTV0u8iipqDs7LmuneCK7CRxuAJxqJ0AqYJZSqZcoQ4tGBeDCBooqBJzplRKhlv1jjti2/cFWG0FD1fyriwKlWqSOamY2Culc4HmLTW4sJW4CCKBThVhSakg1GaRXbzxVr1Myydx3MN2W4QdZPltvf/AN5FnaUkh9aCoqK0q4sVFCpazQKoKADI57aRpsu7obVy8q/3nHbOzrbLZbStDrxILi0EKQgDOiXB4S+cZAVoc8uQXldSaqIXXP8AKISrdmCpNdmyGHrqi/iVySXYlXF0uJCSj0fPqdNsXVDrZCR0RQ2JwdTBriyEG1h3ubdJS4lDVE5UJopdcqA12bKj+UXlk28y6FALSgpOEYiAFnPNs/4hlXZqI6Cq0XFNaHAxOAxdGUlKN7Wu1qtdijs+4CEpAcJUBs2dkEMrZTbYolIEWCkZV2bCMx2iNSom31RyndOzNaoDeFX9XK+0b9JgyVAdwqfq5X2jfpMay2NofqQmmtIzjBrSM4rFskSJEgC6uR+spL7yz61MNy0/0mVH15j/AHL0KO5P6ykvvLPrUw27TP51LftzH+6ejAGSz4I6B6IkRnwR0D0RIyDRfEfm7n2Tnq1QO8IfyNqfcmPXTUEV8f0dz7Jz1aoHOET5G1PubHrpqAPndcaVRuXGlUAYGMTF8/YiBJuPAqC2nm2jnUKS6h41pTIgtbNiooTABDdJSqPBGpweYri9bs9555tupOIgZ1Az3xWXEaqmYINCkIp/HBPZE/gViUTUGojEr2JaTV+/oclv2m822uSWRgCdg8IVqBi3AjdGV1JZhTqEzKgEYDqSAVACgURs180X157C92tJeYIxUzBNKjaBzgwFLqkkqypkBtqObpjmzk2otu/ie77Nm6yqxso35xVt73fjoH89cNggqQ8Ek8pKBQ0TWuScRURhyrvzgdk1qXacqwVhTaF4EmlAUUxJqdpzp1QNlsmlNYsrOdKHG1kUUhSTUcxGcZc4vRK19zFbBYh0ZuVRysm1p011XO2nmMu8s+qWGAppXQ7DAS/Je7HEpWqiagH20hkXjk/dDRO7MdcLW0pFTa6JNCInry4NWMZXfczxuBwbq4eU4vVBRJy7KHUMpzal0Fw/WVUBJUNgxGvVF1dS2W3JkAHlHFQbckknzCBSVUhLRUUpCiKqOWInp16o6ODN1D8/iSKcUhRPSoFI9JPVFLC5XVlxN192be23hKEFpt4L8hdbU04rCMgpKq5EpUcqUCXKbzlXYOoWtJlKkJKF8W82caHC4lFKimYSshQNNa9G6GJOslYI1G7WnsgdmZAJUCENkp0qKkdCRHSlBPkQqvNQyJ6AdO33mkNOszaVVwkJWCChdRQELG0eFrWAGWmHFrxs4sQNARWopoAYZlrWaJnEy4aKUrjMtKYimlR059Ijrsi7DUuKJA7Ixh6cailvdO30Tv8AUe2SoyTSW39ibfYc4yiwrEDWh1rrWCN2wnmwhSSlasOMhFVqQBhIx1TSvKA1NSDBdfiyEFpLwTRaDhrvSquR6DSnSd8UEje9xpOEoS6RQJKy4EpCajlJSoBR59+esQ1oqE8rPV4CpVr4ZV6K1bakr9xXzTbylrU+SVoHKxqFaBQFBoFHlDICsbLy2umYLYaSvkpw0UakrJ0SST0R2vX0dUcgRlQgrJb/AMWiSMW3QqPoprulI8ZMJNOS3yyeceCPxUPUY1g8zyLmWqycKTr1IqPDTtbqrevGx1G4jqWwQ43xlM0lJpi2pDlT24YuWbgtLaRiU4lxI5RSuqSo68lYI5qimkXhjrYOUdRYamtbHhK3a2LrwUJz0TvyX2ByWsadlj+QfQ4n5iwpBI3E8pJ66Rby9uJPJmEKlnN55TSj9VYyHRXqjuJjmmmErSpChVKhQj+9sY4GX/5u32IPaXPSqr/czngUoxChB0KSCD1+2FvwiWmtcmpKgaY0+YmkESbJm2ioNvIU1SqEqFDirovmIJzFejbFLwmMUk1H66PSYypScfiVjWUIKaySuhWNaRnGDWkRbgERExnEjUh/MVGW2mtNtIIbwXUXLAOA8YyqlFgUpXNIWNldh0PmgDG5H6ykvvLPrUw150/nMr+1Mf7l6FTcf9ZSX3ln1qYab5/OJTpf/wBy9ADQZ8EdA9ESIz4I6B6IkAaL4/o7v2Tnq1QOcIvyFqfc2PXTUEd8f0d37Jz1aoHeEX5C1PubHrpqAPnVcalRtVGpUAFUz+rZr73L+rm4EFQXzX6tmvvkv6qbgQMZYCm48spSZgpNAkIqN9cfsjrTMYlEE0pl00jhuU8QHwDQEIr1Y42W9KBOaFUrr0mEIuUrS2JY1HSWaG4Qyl58DdG1DXppnRUVtoLK3CqtaknTXPWAySm+LdTi0ChUbwFCsGE5QKO4E9lYoYuEYtZUex/xyq6yqym9rfW54G+enUIsrIkeM4wVFUtlaanMqSUkADadYqZZWLPPo2b4JboWZxz9CDQJJJzyNMs9h17IrU4uU1E9HjZxWDqVNlZhQL6MtsllxRD+EEJwnOqaih0pAJaNpKLuMnXZGF9HngtLOErebWQhQTqyQaBShuVp0mNdl3ImnyC6cCdw17Y6DozrSi3sj5zHE0cNRnCLvKX2OeZtkqUQNDlFxwe3rRZanXZht4h6iUJRgzw5lSsShpkB+0YKrKuOy1QkAkb8zHHf67gXLpW2PkjiUKDNBHKUCRVNNTTUa6CLCwyzZvA5HGWyRZjhvkF+EH2+ZTKVedCjlGocLFmKNC6RzlhVOziznAUjgnmnWeNwoSSMSWyohxQIqNlEqpsJ6aQun04FFJBqDTMUIIyII2EHKN3w27wlf162N7S5oc9rcKckXmkMqcKa/lHwjCAklPISFUOGoBJI0qACTUF6XAQCCCCKgg1BBzBB3R832dJKeVhTQKKVFI3lKSrD0nDQc5EPa5r+KRY24U4K7+KUW6/wxtBKMnZavX5aEFVaGN9HwmUXXaUhP7WIHPmoDC3UmDu+1p4UBlNDizXnoAapHWRXqgUdspxKUrU2oJUKpUUmhFQKg9JHbHMxks1XTkfRP8boSp4JOemZtq/lr9P55lYR/fshh3Vs/ipcEiinOUd9P8A7M+uA5FiuLbW4kUSjXYSMjVIPhAAgmnzhvhjIySBuA9A3RLgYXk5M5/8AlGIcaUaMXo3r5W0+qZkox0sHKOJa6RmzPJw1rHVbS3PBxTex2KMa1KjlmbQCU4tkCnwmVx9FHkmIJV0tEWI0JNXLu2LVLRFM60FN2tTX+9IFuEqdJk6EUqpB7KxZWxayKJpmQoE8wgNv3b5mEUAohJGe8xDGTlG8nr3E/DUWrLzA9s0EdNgWaJiYbaUopSokqUBUhKUlaqA6miTSu2OZsZR02DaQl5hDpTiCScSa0JSpJSoA7DRRplrAyWtmy0hMPNsoRNIU6tLaVqeZWEqWQlKlIDKSoVIqAoZQxLBZS/ItIcFUraCFdmGvmB6hC7s+bkJd5t5Cppa2lpcShSGUJUpBCkhSwtRAqBUgaQw7CeDEi2teSUNBauzFTpqadYgABuWyU2rKJOqZptJ6UugH0QzCqr0kd/HHtmHoWlyXSu1pRR1VNNqPSXQYZI+Vkeh3170ANVnwR0D0RIjPgjoHoiQBovj+jufZuerVA7wi/IWp9zY9dMwRXx/R3Ps1+rVA9wifIWp9zY9dNQB86rjSqNqo1KgC2mLdBlXGAk1deQ6omlEhtDqQkDbUuk15hFIYyMYmACa5EgXi6kGmSf8A50gtnbpYWSFZkDWKHgzQavkbA36XIYkpNY1BK9DHMni3TxHDe2lvM9JhMFTrYWM7a63+bFLaN3AlNRHbaTakNoxaqbSrqUkEdcOaTuuzQ1ANYX/CbYyZdWJBohSdNyhlRPNF7EUnkUn3kXZ2Np0K1WKdoyX1Xpg5YhK8SQCTXIU1yEFdhXnMg28C2VOKKMCdATiwkHdkrWBG7Lxam2xj+UQQa7FKTUeeL+8rBWynixRxDqOUQQSTXLoqIqU2qVdO+m/9l7E9qrEYGVFx01W+t90/DYKrNtxqYeONGF3KqTqmume2CB18IG6B6x7MIIdWPyigMR6BSLG028aNdY6ccTTqXdN3PEUI8aWWGtjGQtsOOFI2GOu0XkYFJX4KgQegihjisqyENpxp1Ov/AOxutFhDlEq27OmI44qErrZ7FinhKlSq4QWxeydppcaS5UZ9Weh88IDhUsri59xxNOLfJcRTqC67jjxf2YbV67IeZQiWYSeUoJBBAFCqqlKOyKG811kvsMpVmWVDM15STk4DTPOgPUIqUZZXLNpa9upbxVWEYwTauxO2bMLQ6hbfyiVBSaAmpSagUGZ0htXIt5SJUNOpKFNqIAII5CzjTrnliI6o3m7TLbam0pCRSpIFCRzkR3WddVlhhBTkMs1HWpJzJypmcoyu0Ixtdb6IixGGyOMb3cnp68zokrviYWZh5xSRQcWlJFU00WSQQN4Tz1yjmatVKVzCJh7GlCkqNQMTwp+TLh1WARQI0rmdkdFt2zxDJWpaSCaIAIII6hmeisKRy01Ozdc+WcO2mennoeqI03KTaPQ0cTJONKb00iulrbO2nphDaN5Hpl7i21YMyhG0qQaVDm8U3aUO8wcys+EoAOwADqFIG7IsMS4UvwnqcpRpkQM0I+anzmLSwUVSXHNKdQrnFvC0qtSfw7d5w+0sdTlHLbRPTrf1/dzrbm1PkpQNI1Ku46Ea0zHZWN1lT6eNcU2MiYtXrYIFKV3x5zF4zE0MU4Q+JHSp4HNh1OK5XAu9N4S0EMJBxEQIWhaJbUCvqpzxf3qnUKXxtM06VigmmRMIDh13R6WnNVIKc1Z9xyeHKLyxOX33U6TTSOeaWVS7hNclpFesxY2dKZqoKbI7LZlkN2etIHKxoz3ipjaOV6GJRklmYHNaRHG6xGtIzgRmpDGYqcttNac0EFv3qcmQEAcWymmFANa0ySVnaRu0EUkSAL64H60kvvLX+sQzVCj0j+y7692FpwffrSS+8N/6xDOmRSZk/wBl317sANBnwR0D0RIjPgjoHoiQBovj+jufZr9WqB/hFH5C0/uTPrpqCC+X6O59mv8A0Kii4RR+b2l9ya8z0zAHzguNRjauNSoAwMYmMjGJgAu4P57iuPJNAeLB6yukHsxaiFIGHJULO7dPc83Xc36XIpWLfeQQQ4TTYcxHNxOBdSXEi7N/wd/s7tSlRgqdWL02a6959C3anSpJxqFRAnwozSFKQ2oFQpiBB3kilOqFrNX2mFCiVcXvwk5x0WbbbjyFJdVjKTUEiqqHKld1fTFuMpxwyjU/UhSWHrdot07ZZJ8ra2Cy7djILhmiiqQnkIOeaBnn1RZSlplxxAUylKFqyNFHlAVFCTE4PJwvHiKgBulQaZhecV9pOGWmFhxRPEqI6k1AoNg0yinXUmnpurFrCUaVSGMpNapNrws0Hk/PpQ1XmgXdmHFpNF5RXWtedpxk0VoIBXL3uYCgZV2xV7PoSpqyjZX1PLdiulTjVdXSVvh8RnyForSjNVQDQxYiZS4pCgoZHPPdCesq8bgBQo1Bgjund6efq42qjedMVc+iOyqLrOUHHTkXcHiuBWz96sxv3in8L9cSKJBJ5XKGWJIw0qK5bY4ZSZC0ZiNPCIh1Ejx5QMbbLQVQglJUtsOUJz2ntgHY4T0MtoAbxqJAVnSg2nnPNFHG0Ks3HIlp97/g4eKpznP4VdFvfG0gyc65JqE6A1HJJO7mHPHFM2st4Nox4AlIIzoCtSU0BVs11OQzgzTMs2m2yhoocJQM8NeLoOXjBFUUOVDSuzWAS8diqlZniX3EpCuVxlapKCTmAc65EU39sRQo5oppXd/rs/rzPbdkVqF+JXaThHS/fbV+S5dehzzay4yQ4CC2vUZBWRBqNCoUpXWhz0Ect1GGxOY1UKW0FdTv0HnIjovZeBhaUsy55KR4ROprUlR2k5k9MDtlzvFOqKvAUnCroJBNN5yyi5w3SqXeu38FTEYt4xOMPhTv5X5hc/bgLuGtEKOe6Le8Fpoblk8WRsr0bYB7VUkNocSQUrChTalSSMjvyIIPTujKz5Ja0flFZbBzR1KWIjCLV9HszkvsyvUqcNQcpR3t90MSy35dLAONIUeffHFbN5mWBkoKJ3UMLe3kFS0MtnXPsjmnbJWyipUDv3xzq2DoSxirRn5W0udKjPGww04yp6R0b7i/tR9EysJGmp3dEapZ4cpCRyUfyyyi1s0shlvCK5Cppu9MWd1rvpemFhNMOpy2mLSs58NO5FLBV40FinGy/g9mLNZYkQpRAWqh561jkv7Z6RZaXEDLGjPmNYu7e4NCtXGKfJSmlEbIx4TRhsgoCaBK2u2qhF6dK0W0uRyM09EJdrSM4wa0jOOeSEiRIkAEPB2P+qyX3hHphnzv6VJ/suetdhY8HI/6rJfbo9MM+eH51J/sK9Y4YAZrPgjoHoiRGvBHQPREgDTe9NZdz7Nfq1RRcISqy1oc8ig9Qdf9sFdtS2Nsp2KBSehQKf5wHWh+ccUyrIzkg8yPt2sBwnrUv8JgD51XGlUb3myklKhRQJBB1BBoQeuNCoAxjExlGJgC8u+Ky80BuR/9kDZl1fNPYYO+DVrEXxQHJGvS5BsJBHi0+aOfXx6pTyW2K062WTVhGcSdx7IvLmymKbbStt1baqhwNpJXgoakCmw0MNf3tT4tHYIzVK0QtKAEcYnApSRRWAkEpB2VpQ81RES7RhLSSsvXQ3pYx05qaWwFy06w1ajbkuHEMcjECrErkVCsVN5oaQVX7t5E5LrShLaGXlAId4ol5x1NCoDTdhNaZVjdLWWE1JCVEnXCE0AAAGUV8zdXGVAuu8UpZUpoKGDlAUAyqnQ1oc67ILtCnez5bMn9vXEnJK2ZW3b8/HxFC6wRpUgioNCB/daxr4o7j2Q8pWxmm0hCW0gDTKvPmT0xt9wI8UnsEY96R/1KntHchJ2dJLWtKUpJKiAMjmSaCPpm7divMSiQ22CUpGRVgx6YsFQdlaFVKmmgzgRVZqVjCkBtRFEqAzSo+CrLZWleasXPw5nFSgmC2w3WtGFLWHHKEA4FkZKUUqwihBxCucdDCY+Mot25+vmSU5yndrQF7/LnBxpK3HpaZSW0IIw+5VN0cKHUgUBFPCrmNuVIVqmTmKUOng6Z9GsMmznzPiYemHXSJkisu2vChKGlUaSoqyxhSBs0xak5XZaQSTgRmanIbTWK2JxdLD1XCKuvwJ1XFK+4tLgXqMjOtqVyUcYA4c/AUMLgoNUkUNDoUgiMr4Xhcnppx4hQTUhpPzWweSOk6nnMX9v3eSiYbdYQtbilBwjAFsZBQIrTkrTQVSa1qCKwUFpsaoAO5QAUOYg7RGJdoQjBSSumKryWfeJ1TZ3GN8lIlw4TUZVBocobZDfzUdgjku9Y7L7k0DLFa+OAQ6plx5hCcA5CkNuIKDU1xZ5RPhcRHFNxWllf6maGJy1E7eV9+gupGReQotlsuN1oaZgaGv1emCy3rLbly2kTLeF0Ym1KVhNBQELqKJIOWtDBBO3Yl22yUNMuziWXFBlJXxDgRNOJcdRysThQhIo3UZZ5mB280vKNy7bjDZK52jqQupEs0k4VtNmvKJdCuUf8IHTF6ODUnq/p+TqQ7Yr0bqCVtVrvZ9dHpy8SonrCLD7SirEpYJ6tlOaKu3HFFzCfBABp6YbtlWIhyTSpLCUrDayp15twoURiOJDyXAEZCgBTqI65yzrPExxC0tpJcaCQhLqVJBAUsPOKOAg1pydKxSzfFmSR1XTkqMsNnk3dttK+2mvxee4JLu2gSCXUrzAByOoi24NZQJU6oqIGQqeYGLeXsZqgVMy7TDgD54sYygtNtpUhxTYUSaKqKgivZGtcnLomQ2JdpSVSynSujnFqWltSwWOWeQcga7QdIlhVyVFNL18jbLnwzw825PdStyXJfFZ7cgUvBaxNpMMMPrW2VjGK1FQa0i14Vx/0xzP/ANRr0qiys6yW35UOIlm2llC1KW404WjSpBadDnIAAoAoHMbdoDfKYJs8AqURiRkeuJZdoL9Ml+rY4uLwyw6/Vd3ta1u/q+4XrWkZxg1pGcalMkSJEgAl4NE1taS+2B7AowzZw1mpSnzFf61iATgflK2kl5Xycq24+s7BRBSnzq80H1gsl6Ylz82XSo9LpxjzDzwAymk8kdA9ESOxEtkOiJAHQ+3iSRC1v3JONoS40aLYe49o7lKycR0KNFU21UIZ0cFp2Wl1JCgCCKEHQg7DACUvNcwWqgz9ngccf0qWqAoO0zU3XI11pt1GdRCun5FxlRQ6hbahqlaSk9igId8zc+bkXy/IrrXwm1mhUmtcOI8lfXQ+eLIcIywMM5IuCm9orT1EAiAPnPGN47Y8KhvHbH0YL82af+0R1y6e7Hqr5Wb9Eb8gnuwAk7m3iZlS6XSrlhNMIB8EqrXMb4J08JEp/wCX8H/KGF8MbN+hs/u47kefC2zfobP7sO5FSrgoVZZpXuQypRk7sABwkyn/AJfwDvR78ZUn/wCX8A70MAXpsz6Gz+7J7keG9dlfRJf92T3Ii93UuvryMcCAAfGVJ7nfwDvR78ZUnud/AO9B78KrJ+iS/wC7J7ke/CiyPost+7p7kPd1Lr68hwIAF8ZUlud/AO9Hnxlye5zyae9B4q9NkfRZb93T/TjE3osj6LKfu6f6cPd1Lr68hwIgKeEiS+a75NPejEcIshTwHOji00zNTli3wcm9Nk/RZP8Adx/TjMXmsf6NJ+QT/TjPu6mub+f4M8GIBI4QbPHgoWOhlA9CoyHCNI/Nc8mO9B8LxWN4iS8gnuRn7/2L4mS8ijuQ930+vzMcCIAjhLktzvkx3o8+MmR3O+THeg/9/rE8TI+RR3I9FuWJ4mQ8k33Ie76fX5jgRAA8Jclud8mnvRxPXysxaipTSypWZPF5k8/Lhme/dieKkPJN92ILasPxUh5JvuxvDBRg7xlJeDHAiLD4V2V4hXkx5uXGIvTZXiVeT/5w0xa1h+KkPJN92Mhadh+KkPJN92JOA/8Aef7mZ4ERZfDmzvmL8mO/HhvxZ/zF+THfhoGfsPxUh5JvuRj76WF4qR8ijuRF7FDvfzLPFq/9Jfuf9iw+HFn/ADHPJjvxDfmQ+Yv8H/KGh752F4qR8gjuR4bUsPxUl5BPch7FDvfzHEq/9Jfuf9ivN97P+Y5+D/lFVeq9ss/LFpoLriSRVIAomu2phye+9h+Jk/3cf04x9+LD8RKfuw/pxtHCQi1LXTqaSc52zybt3ts+bmjlGVY+jvfuw/o8r+6juRibfsMf9tL9UqjuxbB851iysO7sxOOBEsyt1R2pHJTzqX4KR0mHTaF8bMR+jyEuVfOUw2kdQAqe0RTTt7rQmxxLADbZywtJCEgf5antIEAV01JIkJf3tYcSuZmCDOvpzQ2hGfEoOpSnMk7TXaaBpXJsPDVwpoVUoDqlCUhKE9SUjrrAzcbgvLa+OfOJeoGwUNQTvNc6aDI5mhDVlpcIFBAG2kSPYkASJEiQBrcZCtRHI5ZKToSOgx3xIAG566PGGvGug/VdWnU12GNMvc5SFVD755i6sjrBMFUSAKdNhmnyiu2NC7tqJJ41wV3OLA6hXKL+JAA+m7qwflnOtZPpMdSLFVtcV2xbRIAqzY5+ertjlcu8s6OufjV7YvokADvwcX453yivbHW3Yyhq4vti3iQBWe9B8Yrtjz3nPz1dsWkSAKv3mPz1dsT3m+urti0iQBVe8n1jHhsEfOMW0SAKn3gHzj2x57wJ3nti3iQBUfB8fOMeG7w3mLiJAFN8HU74nwcTvi5iQBS/BtO8xPg2neYuokAD05cxl1OFxIWkGtFZiu+kcQ4NJPxLf4RBdEgARPBpJ+Jb/CI1HgqkTrLt/hgziQALSvBzJt+Cw0P8ifZF1LWK2jwUgdVI74kAYpQBpGUSJAEiRIkAf//Z"/>
          <p:cNvSpPr>
            <a:spLocks noChangeAspect="1" noChangeArrowheads="1"/>
          </p:cNvSpPr>
          <p:nvPr/>
        </p:nvSpPr>
        <p:spPr bwMode="auto">
          <a:xfrm>
            <a:off x="155575" y="-792163"/>
            <a:ext cx="27622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32775" name="AutoShape 4" descr="data:image/jpeg;base64,/9j/4AAQSkZJRgABAQAAAQABAAD/2wCEAAkGBhQSERUUExQWFRQVGBwYFhcYFhYXFxcVFRUVFhUVFBUYHCYfFxkkGRYXIC8gIycpLCwsFx8xNTAqNSYrLCkBCQoKDgwOGg8PGiokHyQ1LC4qKjAtLzAsMC0sKiosLywsLSkpLCwsKiksKS0sLC0pLCkpKSwsLCwsLCksLywtKf/AABEIAK4BIgMBIgACEQEDEQH/xAAcAAACAgMBAQAAAAAAAAAAAAAGBwAFAgMEAQj/xABREAABAgMFAggHCwoFAwUAAAABAgMABBEFBhIhMUFRBxMiYXGBkdIyU5OhsbPRFBUWFzNSVGJzdJIjJDQ1cpSiwdPwQoKytOIlRGNDg8LD4f/EABsBAQACAwEBAAAAAAAAAAAAAAADBAECBQYH/8QANBEAAgECBAMFBwQDAQEAAAAAAAECAxEEEiExE0FhBVFxgfAUFSKRobHhMpLB0QZSU/Ez/9oADAMBAAIRAxEAPwB4xIkeEwB7Eisn7dbaGZED09fsJ2U6aJHaqkAGkeVhar4Sh85HlWu/GPxl/WR5VrvwAzKxKws/jL+sjyzXfj34yfrI8sz34AZdYlYWnxk86PLM9+PfjI+s35ZnvwAyqxKwtPjI+s35Znvx78ZH1m/LM9+AGVWJWFr8Y/1m/LM9+J8Yx3t+WY/qQAyqxKwtfjH52/Lsf1I9+Mb6zfl2P6kAMmsSsLX4xj85vy7H9SPfjFPzm/Lsf1IAZNYlYW/xiHejyzP9SJ8Yh3o8sz34AZFYlYW3xiHe35Zn+pE+MQ72/LM9+AGVErC0+MU72/LM9+IeEQ72/LM9+AGVWPYWfxiHe35Znvx58Yqt6PLM9+AGbHlYWXxiq3o8sz349+MY70eVa78AMysewrZjhPwCqiKaZLQrzJUTHMOF5G+AG3EhUJ4VQd8ZjhS/uo9sANSJCyY4VEE0Ji9s6/7S6AmnTABhEjllLQS4Kgx1QBIkSJAEgdvFboaSc+bLMknRKRtJ/kSaAEi6nnsKCYXVvSq5gJQg0cmXlS7R2IZbBVNv03koKRzBI/xQBRyqZu03lIYUW20nlrB0roOM1KjuTQdOp7nbn2VKn87nGeM2hTgUrrFa+aBa/t9hLg2dZxLTDVUuuJNFvOaLqsZ0rkSNTzACFkqAHwmcu6MvdDR6l92J7uu549rsX3YQhjFRgB+e7buePa7F92IZm7n0hr+PuwkLJ4vH+VSFJyyJI9BEbLe9z8YkMoCU7aFR9JMbqLavc1b1sOhTt3PpDX8fdjHFdz6S1/F3YCbBuhKutBSmwTT5yx6FRum7sSKEH8iMW/G53o2yNbi65Blxl3PpDX8Xdj3jbu/SGv4u7ChmLJaTU4MtmavbGhmRZJzSO1XtivxDoTwMowzZo+HP7DmDt3fpDP8AF7I9x3d+kMfxeyFhZ1gSy1gFAoT85XegvPB1JYMmxX9tzvRJTvUvYo1Fw7Zi/Iu54+X/AIvZGCmbuH/uJfzwvLTuW0hRwgU6Ve2LCSu/IholxgKVvxuj0KjWcstySNKUkmkFypO7v0mX7DHiZG7v0mX/AIoXgsiXJVSXFNnKc0/FFLaFjBOYRQV3nTtjCncOk0OD3Jd76TL/AMXtie47u/SZb+L2womLGbUkcnPbmfbFpJ3VbIzar1q9sM5ZjgZvW6QyfcV3fpMt2n2x77ju79Ilu0+2FPNXeSlR/J0HSr2x2WbY0sojGgU/aV7YOViGFCU9hme5Lu+Plu0x6JO7vjpX8aoE7Su7ZyWqoZBXT57mv4oHl3Zbw4w0OjEr2xBDEKeyZPHAzlHNdevIaPua7vjZP8So89y3d8bKfjV7YTltSrSEjA0kHbmvLtVGlmz21NhVADuqfbE0ZXVytKnldrodPuS7vjZTyivbE9xXd8dKeUX7YW8pcrjUYksbNar9sUUxZKWllDrdD0nzZxvyuI03J2TQ5fcN3vHyvll96PDZ13fpEv5ZfehTsycsRTixi/aX7Yp7bYbRQITQ9JPpMCG+th2my7vfSmPLK9seGzLv/TGR/wC5CGZ0jOBkdj9gWMo/krSl0n6yh6cQjjnLhTCUF2TdbmmxmeJWFn8H8gSYT8ddl2s9LOBxhxTSxopBp1HYRzHKAGldO/TjbmBdaJ8LXk54eUDmnOg6TTdDpsi1A8gEGEfLW2i0mvdvFpE7KU92ISAEzUorkLcw/OCSQeb/AC0ObnTZYfXLlWJKTVB3tqzQSd9MuqAGREjALiQBUXitANpFSK0UoCoqeLQVmg25CB2ac9zcvbJ2YtQ+0dIqrpJY85iwvqMjzNPedhQitv2aN2nzSDQ7XJuAPnJwk5nMnU7ydTGkxtXGpUAYGMTGRjFUAb5GUKzzDUxptNIx0SawV8H0shxTyV0zCKdq6xjeC7raZoYTlSpHojNtLmVJNqCXmWdy3nA3hJyjhvFNLU6lCM6nZ/OOuz5oNqpUU9ME1kWQhxCyCAtQISTsJ0jXPm08WSZMr+VgOMuleBOIEnccgdM92caTY5DlCKDb0wazd0JZCwriVFQUlOMOpzURXHhJyAI0i1tGyW0DEaE0FdNaaxDRlxFeJalGMJJVRaTDBacScRAgzsZ1TtBirlnArP2aXn6V5IPbBbZrSZehr/YjZVoQmk+ZNLByqwlKnstjmvDJlBCa6xY2Fd4LRmawH3uvTidFNI6bq3lfccwMtOO7whCl4dxOEZDpi3GnBVLPZnLnWm6fw7oKLQuk4qoaWhAArVQJrrkKaaawM2hduYSpHHKQuqsGIVHIVriBA0Oh30hhe5HlpKnmXEISUk8rCcQUKAhKsVOUcqUgdsyWDjimwlSuMJqlaySo1qPCNEjoinXqOFZxjtyLdCjGdBTlo+bKez7pLbUQrQQV2RMtYSk0qnIx1vzuBXFuNqbUdApJGzZsI6I53rAQ2FOjLFmYzhq8p3U42IpwnKLyt2BS9VrtkFKRVSdeaB9q1WeLFfCppGdqT7SVrpQkmCK61321yqXUsNLWsqzdqQnCcsKdKUGtNTG9ScY3k0ZpKekYsGZW0wpfNsiym7bwowgR0XjkEISAWmmnqlQW1UIcTWlAk+CfNlFEyoLBFc9KRmMlOFkjEVaqs70OWaWMQUo8k680eTSGkqTRQwkgmOK05dSGs9p/nFdIMYlVIqIwtTaslGVu8+jbv2k17nQUgEUhScK1opcmU4BSmsW1n2uZWUxeFlv80B84h+fcxJbIHm7YuTTUbPmUYtZtDZdiwHZlRWk5CPb1XbcbTxqvBBCeswyOD+7q5Zii9TrGHCqgCzlU8Y36VRmVOmoX52NFVk5WE01pGcYNaRnFQsEiRIkAFXBfOYLTYQfAfxS7g3oeSUUP+bCeqGc26UTMorapgJVzqaOA+cKhR3GNLTkvvLXrEw2p/wCXlP2nx2TDsYAz238h0RI0NeCOgeiJGQVl9PBV9k96pUVfCB8lan3Fn1s3FrfRJwk0NOJeqdg/JGlTFRwh/I2p9yY9dNRkHzquNRjauNSowDAxiqMjGKoAvLrulPGFOvJ9KolspUpypUanLni04PEJPugq2BHnK43W5ZGJYXXTqhGEnIn40OFka1XM23Pug5MrwlWBCUlS3DngSNTzmCyXn5BjJtUw6rEnlKwpRQKFSEjPSusc9nccxZsw4GyW3W6YwRyUpUUqKknOhrSogYaXUA74p1qs4PLax6zsnsjD4i86ju1ayT6X1+1g1mbEdenUtFtQTUq4xO6lUqTsOVM445yQJQVpmm30pzKalDoA1JbVrTmMc0veNwSimhMuA4qBumXF0zHGajP/AA1pHAJNSCypQGBzTMVpochprGlOagssFoZq9iqUZyrTs1fLbnZN8+/pfZ6s1yDCnVqKRkPTGu12XkiqqhMMKyrDSy0Cka5mKa+UwgMkGmcS1W4VFHKeWo1bRdmLD4PuzUw0y0MS3FBI3AHVR3ACpJ3Ax9I3VsFqz5ZEqwK4flF5YnFnwlq5zsGwADZCmuU6WWlzAoFghDat1KKURv8A8I7YMLtuTLlpEukCXcbUhTIBw1UnFiUCak1BGuQMZddZ3TdtB7PJx4kVpv4B09LBSFJNeWKYsqjaPPA7YFyuIdLq1hajUJoDQV21Oen84IXnEMoAUug0BWaknUVJ1NPRA03eBSi62FKUorKGykpBKs1IS2sA5dKSKVzjVpU5LXw/Pfbl+Nc041JU5W25/j+QrmbGZda4taAQSVDeFkklaTsVU1gLtSzsTRRXTLsgktyfxMkJUps0BDozSCTkF0OLCa0qN8L2XtcP42+NSl5JUHK1NCDoQB4Xmz12xaTV0u8iipqDs7LmuneCK7CRxuAJxqJ0AqYJZSqZcoQ4tGBeDCBooqBJzplRKhlv1jjti2/cFWG0FD1fyriwKlWqSOamY2Culc4HmLTW4sJW4CCKBThVhSakg1GaRXbzxVr1Myydx3MN2W4QdZPltvf/AN5FnaUkh9aCoqK0q4sVFCpazQKoKADI57aRpsu7obVy8q/3nHbOzrbLZbStDrxILi0EKQgDOiXB4S+cZAVoc8uQXldSaqIXXP8AKISrdmCpNdmyGHrqi/iVySXYlXF0uJCSj0fPqdNsXVDrZCR0RQ2JwdTBriyEG1h3ubdJS4lDVE5UJopdcqA12bKj+UXlk28y6FALSgpOEYiAFnPNs/4hlXZqI6Cq0XFNaHAxOAxdGUlKN7Wu1qtdijs+4CEpAcJUBs2dkEMrZTbYolIEWCkZV2bCMx2iNSom31RyndOzNaoDeFX9XK+0b9JgyVAdwqfq5X2jfpMay2NofqQmmtIzjBrSM4rFskSJEgC6uR+spL7yz61MNy0/0mVH15j/AHL0KO5P6ykvvLPrUw27TP51LftzH+6ejAGSz4I6B6IkRnwR0D0RIyDRfEfm7n2Tnq1QO8IfyNqfcmPXTUEV8f0dz7Jz1aoHOET5G1PubHrpqAPndcaVRuXGlUAYGMTF8/YiBJuPAqC2nm2jnUKS6h41pTIgtbNiooTABDdJSqPBGpweYri9bs9555tupOIgZ1Az3xWXEaqmYINCkIp/HBPZE/gViUTUGojEr2JaTV+/oclv2m822uSWRgCdg8IVqBi3AjdGV1JZhTqEzKgEYDqSAVACgURs180X157C92tJeYIxUzBNKjaBzgwFLqkkqypkBtqObpjmzk2otu/ie77Nm6yqxso35xVt73fjoH89cNggqQ8Ek8pKBQ0TWuScRURhyrvzgdk1qXacqwVhTaF4EmlAUUxJqdpzp1QNlsmlNYsrOdKHG1kUUhSTUcxGcZc4vRK19zFbBYh0ZuVRysm1p011XO2nmMu8s+qWGAppXQ7DAS/Je7HEpWqiagH20hkXjk/dDRO7MdcLW0pFTa6JNCInry4NWMZXfczxuBwbq4eU4vVBRJy7KHUMpzal0Fw/WVUBJUNgxGvVF1dS2W3JkAHlHFQbckknzCBSVUhLRUUpCiKqOWInp16o6ODN1D8/iSKcUhRPSoFI9JPVFLC5XVlxN192be23hKEFpt4L8hdbU04rCMgpKq5EpUcqUCXKbzlXYOoWtJlKkJKF8W82caHC4lFKimYSshQNNa9G6GJOslYI1G7WnsgdmZAJUCENkp0qKkdCRHSlBPkQqvNQyJ6AdO33mkNOszaVVwkJWCChdRQELG0eFrWAGWmHFrxs4sQNARWopoAYZlrWaJnEy4aKUrjMtKYimlR059Ijrsi7DUuKJA7Ixh6cailvdO30Tv8AUe2SoyTSW39ibfYc4yiwrEDWh1rrWCN2wnmwhSSlasOMhFVqQBhIx1TSvKA1NSDBdfiyEFpLwTRaDhrvSquR6DSnSd8UEje9xpOEoS6RQJKy4EpCajlJSoBR59+esQ1oqE8rPV4CpVr4ZV6K1bakr9xXzTbylrU+SVoHKxqFaBQFBoFHlDICsbLy2umYLYaSvkpw0UakrJ0SST0R2vX0dUcgRlQgrJb/AMWiSMW3QqPoprulI8ZMJNOS3yyeceCPxUPUY1g8zyLmWqycKTr1IqPDTtbqrevGx1G4jqWwQ43xlM0lJpi2pDlT24YuWbgtLaRiU4lxI5RSuqSo68lYI5qimkXhjrYOUdRYamtbHhK3a2LrwUJz0TvyX2ByWsadlj+QfQ4n5iwpBI3E8pJ66Rby9uJPJmEKlnN55TSj9VYyHRXqjuJjmmmErSpChVKhQj+9sY4GX/5u32IPaXPSqr/czngUoxChB0KSCD1+2FvwiWmtcmpKgaY0+YmkESbJm2ioNvIU1SqEqFDirovmIJzFejbFLwmMUk1H66PSYypScfiVjWUIKaySuhWNaRnGDWkRbgERExnEjUh/MVGW2mtNtIIbwXUXLAOA8YyqlFgUpXNIWNldh0PmgDG5H6ykvvLPrUw150/nMr+1Mf7l6FTcf9ZSX3ln1qYab5/OJTpf/wBy9ADQZ8EdA9ESIz4I6B6IkAaL4/o7v2Tnq1QOcIvyFqfc2PXTUEd8f0d37Jz1aoHeEX5C1PubHrpqAPnVcalRtVGpUAFUz+rZr73L+rm4EFQXzX6tmvvkv6qbgQMZYCm48spSZgpNAkIqN9cfsjrTMYlEE0pl00jhuU8QHwDQEIr1Y42W9KBOaFUrr0mEIuUrS2JY1HSWaG4Qyl58DdG1DXppnRUVtoLK3CqtaknTXPWAySm+LdTi0ChUbwFCsGE5QKO4E9lYoYuEYtZUex/xyq6yqym9rfW54G+enUIsrIkeM4wVFUtlaanMqSUkADadYqZZWLPPo2b4JboWZxz9CDQJJJzyNMs9h17IrU4uU1E9HjZxWDqVNlZhQL6MtsllxRD+EEJwnOqaih0pAJaNpKLuMnXZGF9HngtLOErebWQhQTqyQaBShuVp0mNdl3ImnyC6cCdw17Y6DozrSi3sj5zHE0cNRnCLvKX2OeZtkqUQNDlFxwe3rRZanXZht4h6iUJRgzw5lSsShpkB+0YKrKuOy1QkAkb8zHHf67gXLpW2PkjiUKDNBHKUCRVNNTTUa6CLCwyzZvA5HGWyRZjhvkF+EH2+ZTKVedCjlGocLFmKNC6RzlhVOziznAUjgnmnWeNwoSSMSWyohxQIqNlEqpsJ6aQun04FFJBqDTMUIIyII2EHKN3w27wlf162N7S5oc9rcKckXmkMqcKa/lHwjCAklPISFUOGoBJI0qACTUF6XAQCCCCKgg1BBzBB3R832dJKeVhTQKKVFI3lKSrD0nDQc5EPa5r+KRY24U4K7+KUW6/wxtBKMnZavX5aEFVaGN9HwmUXXaUhP7WIHPmoDC3UmDu+1p4UBlNDizXnoAapHWRXqgUdspxKUrU2oJUKpUUmhFQKg9JHbHMxks1XTkfRP8boSp4JOemZtq/lr9P55lYR/fshh3Vs/ipcEiinOUd9P8A7M+uA5FiuLbW4kUSjXYSMjVIPhAAgmnzhvhjIySBuA9A3RLgYXk5M5/8AlGIcaUaMXo3r5W0+qZkox0sHKOJa6RmzPJw1rHVbS3PBxTex2KMa1KjlmbQCU4tkCnwmVx9FHkmIJV0tEWI0JNXLu2LVLRFM60FN2tTX+9IFuEqdJk6EUqpB7KxZWxayKJpmQoE8wgNv3b5mEUAohJGe8xDGTlG8nr3E/DUWrLzA9s0EdNgWaJiYbaUopSokqUBUhKUlaqA6miTSu2OZsZR02DaQl5hDpTiCScSa0JSpJSoA7DRRplrAyWtmy0hMPNsoRNIU6tLaVqeZWEqWQlKlIDKSoVIqAoZQxLBZS/ItIcFUraCFdmGvmB6hC7s+bkJd5t5Cppa2lpcShSGUJUpBCkhSwtRAqBUgaQw7CeDEi2teSUNBauzFTpqadYgABuWyU2rKJOqZptJ6UugH0QzCqr0kd/HHtmHoWlyXSu1pRR1VNNqPSXQYZI+Vkeh3170ANVnwR0D0RIjPgjoHoiQBovj+jufZuerVA7wi/IWp9zY9dMwRXx/R3Ps1+rVA9wifIWp9zY9dNQB86rjSqNqo1KgC2mLdBlXGAk1deQ6omlEhtDqQkDbUuk15hFIYyMYmACa5EgXi6kGmSf8A50gtnbpYWSFZkDWKHgzQavkbA36XIYkpNY1BK9DHMni3TxHDe2lvM9JhMFTrYWM7a63+bFLaN3AlNRHbaTakNoxaqbSrqUkEdcOaTuuzQ1ANYX/CbYyZdWJBohSdNyhlRPNF7EUnkUn3kXZ2Np0K1WKdoyX1Xpg5YhK8SQCTXIU1yEFdhXnMg28C2VOKKMCdATiwkHdkrWBG7Lxam2xj+UQQa7FKTUeeL+8rBWynixRxDqOUQQSTXLoqIqU2qVdO+m/9l7E9qrEYGVFx01W+t90/DYKrNtxqYeONGF3KqTqmume2CB18IG6B6x7MIIdWPyigMR6BSLG028aNdY6ccTTqXdN3PEUI8aWWGtjGQtsOOFI2GOu0XkYFJX4KgQegihjisqyENpxp1Ov/AOxutFhDlEq27OmI44qErrZ7FinhKlSq4QWxeydppcaS5UZ9Weh88IDhUsri59xxNOLfJcRTqC67jjxf2YbV67IeZQiWYSeUoJBBAFCqqlKOyKG811kvsMpVmWVDM15STk4DTPOgPUIqUZZXLNpa9upbxVWEYwTauxO2bMLQ6hbfyiVBSaAmpSagUGZ0htXIt5SJUNOpKFNqIAII5CzjTrnliI6o3m7TLbam0pCRSpIFCRzkR3WddVlhhBTkMs1HWpJzJypmcoyu0Ixtdb6IixGGyOMb3cnp68zokrviYWZh5xSRQcWlJFU00WSQQN4Tz1yjmatVKVzCJh7GlCkqNQMTwp+TLh1WARQI0rmdkdFt2zxDJWpaSCaIAIII6hmeisKRy01Ozdc+WcO2mennoeqI03KTaPQ0cTJONKb00iulrbO2nphDaN5Hpl7i21YMyhG0qQaVDm8U3aUO8wcys+EoAOwADqFIG7IsMS4UvwnqcpRpkQM0I+anzmLSwUVSXHNKdQrnFvC0qtSfw7d5w+0sdTlHLbRPTrf1/dzrbm1PkpQNI1Ku46Ea0zHZWN1lT6eNcU2MiYtXrYIFKV3x5zF4zE0MU4Q+JHSp4HNh1OK5XAu9N4S0EMJBxEQIWhaJbUCvqpzxf3qnUKXxtM06VigmmRMIDh13R6WnNVIKc1Z9xyeHKLyxOX33U6TTSOeaWVS7hNclpFesxY2dKZqoKbI7LZlkN2etIHKxoz3ipjaOV6GJRklmYHNaRHG6xGtIzgRmpDGYqcttNac0EFv3qcmQEAcWymmFANa0ySVnaRu0EUkSAL64H60kvvLX+sQzVCj0j+y7692FpwffrSS+8N/6xDOmRSZk/wBl317sANBnwR0D0RIjPgjoHoiQBovj+jufZr9WqB/hFH5C0/uTPrpqCC+X6O59mv8A0Kii4RR+b2l9ya8z0zAHzguNRjauNSoAwMYmMjGJgAu4P57iuPJNAeLB6yukHsxaiFIGHJULO7dPc83Xc36XIpWLfeQQQ4TTYcxHNxOBdSXEi7N/wd/s7tSlRgqdWL02a6959C3anSpJxqFRAnwozSFKQ2oFQpiBB3kilOqFrNX2mFCiVcXvwk5x0WbbbjyFJdVjKTUEiqqHKld1fTFuMpxwyjU/UhSWHrdot07ZZJ8ra2Cy7djILhmiiqQnkIOeaBnn1RZSlplxxAUylKFqyNFHlAVFCTE4PJwvHiKgBulQaZhecV9pOGWmFhxRPEqI6k1AoNg0yinXUmnpurFrCUaVSGMpNapNrws0Hk/PpQ1XmgXdmHFpNF5RXWtedpxk0VoIBXL3uYCgZV2xV7PoSpqyjZX1PLdiulTjVdXSVvh8RnyForSjNVQDQxYiZS4pCgoZHPPdCesq8bgBQo1Bgjund6efq42qjedMVc+iOyqLrOUHHTkXcHiuBWz96sxv3in8L9cSKJBJ5XKGWJIw0qK5bY4ZSZC0ZiNPCIh1Ejx5QMbbLQVQglJUtsOUJz2ntgHY4T0MtoAbxqJAVnSg2nnPNFHG0Ks3HIlp97/g4eKpznP4VdFvfG0gyc65JqE6A1HJJO7mHPHFM2st4Nox4AlIIzoCtSU0BVs11OQzgzTMs2m2yhoocJQM8NeLoOXjBFUUOVDSuzWAS8diqlZniX3EpCuVxlapKCTmAc65EU39sRQo5oppXd/rs/rzPbdkVqF+JXaThHS/fbV+S5dehzzay4yQ4CC2vUZBWRBqNCoUpXWhz0Ect1GGxOY1UKW0FdTv0HnIjovZeBhaUsy55KR4ROprUlR2k5k9MDtlzvFOqKvAUnCroJBNN5yyi5w3SqXeu38FTEYt4xOMPhTv5X5hc/bgLuGtEKOe6Le8Fpoblk8WRsr0bYB7VUkNocSQUrChTalSSMjvyIIPTujKz5Ja0flFZbBzR1KWIjCLV9HszkvsyvUqcNQcpR3t90MSy35dLAONIUeffHFbN5mWBkoKJ3UMLe3kFS0MtnXPsjmnbJWyipUDv3xzq2DoSxirRn5W0udKjPGww04yp6R0b7i/tR9EysJGmp3dEapZ4cpCRyUfyyyi1s0shlvCK5Cppu9MWd1rvpemFhNMOpy2mLSs58NO5FLBV40FinGy/g9mLNZYkQpRAWqh561jkv7Z6RZaXEDLGjPmNYu7e4NCtXGKfJSmlEbIx4TRhsgoCaBK2u2qhF6dK0W0uRyM09EJdrSM4wa0jOOeSEiRIkAEPB2P+qyX3hHphnzv6VJ/suetdhY8HI/6rJfbo9MM+eH51J/sK9Y4YAZrPgjoHoiRGvBHQPREgDTe9NZdz7Nfq1RRcISqy1oc8ig9Qdf9sFdtS2Nsp2KBSehQKf5wHWh+ccUyrIzkg8yPt2sBwnrUv8JgD51XGlUb3myklKhRQJBB1BBoQeuNCoAxjExlGJgC8u+Ky80BuR/9kDZl1fNPYYO+DVrEXxQHJGvS5BsJBHi0+aOfXx6pTyW2K062WTVhGcSdx7IvLmymKbbStt1baqhwNpJXgoakCmw0MNf3tT4tHYIzVK0QtKAEcYnApSRRWAkEpB2VpQ81RES7RhLSSsvXQ3pYx05qaWwFy06w1ajbkuHEMcjECrErkVCsVN5oaQVX7t5E5LrShLaGXlAId4ol5x1NCoDTdhNaZVjdLWWE1JCVEnXCE0AAAGUV8zdXGVAuu8UpZUpoKGDlAUAyqnQ1oc67ILtCnez5bMn9vXEnJK2ZW3b8/HxFC6wRpUgioNCB/daxr4o7j2Q8pWxmm0hCW0gDTKvPmT0xt9wI8UnsEY96R/1KntHchJ2dJLWtKUpJKiAMjmSaCPpm7divMSiQ22CUpGRVgx6YsFQdlaFVKmmgzgRVZqVjCkBtRFEqAzSo+CrLZWleasXPw5nFSgmC2w3WtGFLWHHKEA4FkZKUUqwihBxCucdDCY+Mot25+vmSU5yndrQF7/LnBxpK3HpaZSW0IIw+5VN0cKHUgUBFPCrmNuVIVqmTmKUOng6Z9GsMmznzPiYemHXSJkisu2vChKGlUaSoqyxhSBs0xak5XZaQSTgRmanIbTWK2JxdLD1XCKuvwJ1XFK+4tLgXqMjOtqVyUcYA4c/AUMLgoNUkUNDoUgiMr4Xhcnppx4hQTUhpPzWweSOk6nnMX9v3eSiYbdYQtbilBwjAFsZBQIrTkrTQVSa1qCKwUFpsaoAO5QAUOYg7RGJdoQjBSSumKryWfeJ1TZ3GN8lIlw4TUZVBocobZDfzUdgjku9Y7L7k0DLFa+OAQ6plx5hCcA5CkNuIKDU1xZ5RPhcRHFNxWllf6maGJy1E7eV9+gupGReQotlsuN1oaZgaGv1emCy3rLbly2kTLeF0Ym1KVhNBQELqKJIOWtDBBO3Yl22yUNMuziWXFBlJXxDgRNOJcdRysThQhIo3UZZ5mB280vKNy7bjDZK52jqQupEs0k4VtNmvKJdCuUf8IHTF6ODUnq/p+TqQ7Yr0bqCVtVrvZ9dHpy8SonrCLD7SirEpYJ6tlOaKu3HFFzCfBABp6YbtlWIhyTSpLCUrDayp15twoURiOJDyXAEZCgBTqI65yzrPExxC0tpJcaCQhLqVJBAUsPOKOAg1pydKxSzfFmSR1XTkqMsNnk3dttK+2mvxee4JLu2gSCXUrzAByOoi24NZQJU6oqIGQqeYGLeXsZqgVMy7TDgD54sYygtNtpUhxTYUSaKqKgivZGtcnLomQ2JdpSVSynSujnFqWltSwWOWeQcga7QdIlhVyVFNL18jbLnwzw825PdStyXJfFZ7cgUvBaxNpMMMPrW2VjGK1FQa0i14Vx/0xzP/ANRr0qiys6yW35UOIlm2llC1KW404WjSpBadDnIAAoAoHMbdoDfKYJs8AqURiRkeuJZdoL9Ml+rY4uLwyw6/Vd3ta1u/q+4XrWkZxg1pGcalMkSJEgAl4NE1taS+2B7AowzZw1mpSnzFf61iATgflK2kl5Xycq24+s7BRBSnzq80H1gsl6Ylz82XSo9LpxjzDzwAymk8kdA9ESOxEtkOiJAHQ+3iSRC1v3JONoS40aLYe49o7lKycR0KNFU21UIZ0cFp2Wl1JCgCCKEHQg7DACUvNcwWqgz9ngccf0qWqAoO0zU3XI11pt1GdRCun5FxlRQ6hbahqlaSk9igId8zc+bkXy/IrrXwm1mhUmtcOI8lfXQ+eLIcIywMM5IuCm9orT1EAiAPnPGN47Y8KhvHbH0YL82af+0R1y6e7Hqr5Wb9Eb8gnuwAk7m3iZlS6XSrlhNMIB8EqrXMb4J08JEp/wCX8H/KGF8MbN+hs/u47kefC2zfobP7sO5FSrgoVZZpXuQypRk7sABwkyn/AJfwDvR78ZUn/wCX8A70MAXpsz6Gz+7J7keG9dlfRJf92T3Ii93UuvryMcCAAfGVJ7nfwDvR78ZUnud/AO9B78KrJ+iS/wC7J7ke/CiyPost+7p7kPd1Lr68hwIAF8ZUlud/AO9Hnxlye5zyae9B4q9NkfRZb93T/TjE3osj6LKfu6f6cPd1Lr68hwIgKeEiS+a75NPejEcIshTwHOji00zNTli3wcm9Nk/RZP8Adx/TjMXmsf6NJ+QT/TjPu6mub+f4M8GIBI4QbPHgoWOhlA9CoyHCNI/Nc8mO9B8LxWN4iS8gnuRn7/2L4mS8ijuQ930+vzMcCIAjhLktzvkx3o8+MmR3O+THeg/9/rE8TI+RR3I9FuWJ4mQ8k33Ie76fX5jgRAA8Jclud8mnvRxPXysxaipTSypWZPF5k8/Lhme/dieKkPJN92ILasPxUh5JvuxvDBRg7xlJeDHAiLD4V2V4hXkx5uXGIvTZXiVeT/5w0xa1h+KkPJN92Mhadh+KkPJN92JOA/8Aef7mZ4ERZfDmzvmL8mO/HhvxZ/zF+THfhoGfsPxUh5JvuRj76WF4qR8ijuRF7FDvfzLPFq/9Jfuf9iw+HFn/ADHPJjvxDfmQ+Yv8H/KGh752F4qR8gjuR4bUsPxUl5BPch7FDvfzHEq/9Jfuf9ivN97P+Y5+D/lFVeq9ss/LFpoLriSRVIAomu2phye+9h+Jk/3cf04x9+LD8RKfuw/pxtHCQi1LXTqaSc52zybt3ts+bmjlGVY+jvfuw/o8r+6juRibfsMf9tL9UqjuxbB851iysO7sxOOBEsyt1R2pHJTzqX4KR0mHTaF8bMR+jyEuVfOUw2kdQAqe0RTTt7rQmxxLADbZywtJCEgf5antIEAV01JIkJf3tYcSuZmCDOvpzQ2hGfEoOpSnMk7TXaaBpXJsPDVwpoVUoDqlCUhKE9SUjrrAzcbgvLa+OfOJeoGwUNQTvNc6aDI5mhDVlpcIFBAG2kSPYkASJEiQBrcZCtRHI5ZKToSOgx3xIAG566PGGvGug/VdWnU12GNMvc5SFVD755i6sjrBMFUSAKdNhmnyiu2NC7tqJJ41wV3OLA6hXKL+JAA+m7qwflnOtZPpMdSLFVtcV2xbRIAqzY5+ertjlcu8s6OufjV7YvokADvwcX453yivbHW3Yyhq4vti3iQBWe9B8Yrtjz3nPz1dsWkSAKv3mPz1dsT3m+urti0iQBVe8n1jHhsEfOMW0SAKn3gHzj2x57wJ3nti3iQBUfB8fOMeG7w3mLiJAFN8HU74nwcTvi5iQBS/BtO8xPg2neYuokAD05cxl1OFxIWkGtFZiu+kcQ4NJPxLf4RBdEgARPBpJ+Jb/CI1HgqkTrLt/hgziQALSvBzJt+Cw0P8ifZF1LWK2jwUgdVI74kAYpQBpGUSJAEiRIkAf//Z"/>
          <p:cNvSpPr>
            <a:spLocks noChangeAspect="1" noChangeArrowheads="1"/>
          </p:cNvSpPr>
          <p:nvPr/>
        </p:nvSpPr>
        <p:spPr bwMode="auto">
          <a:xfrm>
            <a:off x="155575" y="-792163"/>
            <a:ext cx="27622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/>
          </a:p>
        </p:txBody>
      </p:sp>
      <p:pic>
        <p:nvPicPr>
          <p:cNvPr id="32776" name="Picture 11" descr="http://www.thejanusproject.org/wp-content/uploads/2012/10/CommBizIcon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8100" y="1489075"/>
            <a:ext cx="866775" cy="928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7" name="Picture 11" descr="http://www.thejanusproject.org/wp-content/uploads/2012/10/CommBizIcon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2532063"/>
            <a:ext cx="642938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8" name="Picture 14" descr="http://www.thejanusproject.org/wp-content/uploads/2012/10/CommBizIcons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938" y="2527300"/>
            <a:ext cx="642937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79" name="Picture 15" descr="http://www.thejanusproject.org/wp-content/uploads/2012/10/CommBizIcons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375" y="2670175"/>
            <a:ext cx="928688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80" name="Picture 16" descr="http://www.thejanusproject.org/wp-content/uploads/2012/10/CommBizIcons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0313" y="3070225"/>
            <a:ext cx="571500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81" name="Picture 17" descr="http://www.thejanusproject.org/wp-content/uploads/2012/10/CommBizIcons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75" y="2317750"/>
            <a:ext cx="785813" cy="1100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82" name="Picture 13" descr="http://images.all-free-download.com/images/graphiclarge/call_center_user_4192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0" y="3417888"/>
            <a:ext cx="78581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783" name="Picture 15" descr="http://www.777icons.com/libs/net/network_engineer-icon.gif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875" y="3536950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2784" name="Group 24"/>
          <p:cNvGrpSpPr>
            <a:grpSpLocks/>
          </p:cNvGrpSpPr>
          <p:nvPr/>
        </p:nvGrpSpPr>
        <p:grpSpPr bwMode="auto">
          <a:xfrm rot="-2293041">
            <a:off x="2876550" y="2106613"/>
            <a:ext cx="374650" cy="654050"/>
            <a:chOff x="1714480" y="3929069"/>
            <a:chExt cx="647696" cy="1219201"/>
          </a:xfrm>
        </p:grpSpPr>
        <p:pic>
          <p:nvPicPr>
            <p:cNvPr id="32792" name="Picture 19" descr="http://www.egr.msu.edu/sites/default/files/content/sound_mute-icon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4480" y="3929069"/>
              <a:ext cx="647696" cy="1219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Rectangle 23"/>
            <p:cNvSpPr/>
            <p:nvPr/>
          </p:nvSpPr>
          <p:spPr>
            <a:xfrm>
              <a:off x="1718346" y="4342361"/>
              <a:ext cx="71356" cy="3580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</p:grpSp>
      <p:grpSp>
        <p:nvGrpSpPr>
          <p:cNvPr id="32785" name="Group 26"/>
          <p:cNvGrpSpPr>
            <a:grpSpLocks/>
          </p:cNvGrpSpPr>
          <p:nvPr/>
        </p:nvGrpSpPr>
        <p:grpSpPr bwMode="auto">
          <a:xfrm rot="1837647">
            <a:off x="5213350" y="2109788"/>
            <a:ext cx="373063" cy="654050"/>
            <a:chOff x="1714480" y="3929069"/>
            <a:chExt cx="647696" cy="1219201"/>
          </a:xfrm>
        </p:grpSpPr>
        <p:pic>
          <p:nvPicPr>
            <p:cNvPr id="32790" name="Picture 19" descr="http://www.egr.msu.edu/sites/default/files/content/sound_mute-icon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4480" y="3929069"/>
              <a:ext cx="647696" cy="1219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1696765" y="4342485"/>
              <a:ext cx="71660" cy="3580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</p:grpSp>
      <p:cxnSp>
        <p:nvCxnSpPr>
          <p:cNvPr id="40" name="Straight Connector 39"/>
          <p:cNvCxnSpPr/>
          <p:nvPr/>
        </p:nvCxnSpPr>
        <p:spPr>
          <a:xfrm>
            <a:off x="5072063" y="3943350"/>
            <a:ext cx="1714500" cy="0"/>
          </a:xfrm>
          <a:prstGeom prst="line">
            <a:avLst/>
          </a:prstGeom>
          <a:ln w="22225" cap="rnd">
            <a:solidFill>
              <a:schemeClr val="accent1">
                <a:shade val="95000"/>
                <a:satMod val="105000"/>
                <a:alpha val="50000"/>
              </a:schemeClr>
            </a:solidFill>
            <a:prstDash val="solid"/>
            <a:headEnd type="oval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1428750" y="3917950"/>
            <a:ext cx="2143125" cy="28575"/>
          </a:xfrm>
          <a:prstGeom prst="line">
            <a:avLst/>
          </a:prstGeom>
          <a:ln w="22225" cap="flat">
            <a:solidFill>
              <a:schemeClr val="accent1">
                <a:shade val="95000"/>
                <a:satMod val="105000"/>
                <a:alpha val="50000"/>
              </a:schemeClr>
            </a:solidFill>
            <a:prstDash val="solid"/>
            <a:headEnd type="stealt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468313" y="4583113"/>
            <a:ext cx="6429375" cy="81597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400" b="1" dirty="0">
                <a:latin typeface="+mn-lt"/>
              </a:rPr>
              <a:t>Alignment of technical roadmaps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400" b="1" dirty="0">
                <a:latin typeface="+mn-lt"/>
              </a:rPr>
              <a:t>Control of </a:t>
            </a:r>
            <a:r>
              <a:rPr lang="en-GB" sz="1400" b="1" dirty="0" err="1">
                <a:latin typeface="+mn-lt"/>
              </a:rPr>
              <a:t>QoE</a:t>
            </a:r>
            <a:endParaRPr lang="en-GB" sz="1400" b="1" dirty="0">
              <a:latin typeface="+mn-lt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en-GB" sz="1400" b="1" dirty="0">
                <a:latin typeface="+mn-lt"/>
              </a:rPr>
              <a:t>Ability to be able to perform end to end testing </a:t>
            </a:r>
          </a:p>
          <a:p>
            <a:pPr>
              <a:defRPr/>
            </a:pPr>
            <a:endParaRPr lang="en-GB" sz="1100" b="1" dirty="0">
              <a:latin typeface="+mn-lt"/>
            </a:endParaRPr>
          </a:p>
        </p:txBody>
      </p:sp>
      <p:pic>
        <p:nvPicPr>
          <p:cNvPr id="32794" name="Picture 26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50" y="1905000"/>
            <a:ext cx="1079500" cy="71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03757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27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27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27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27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27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27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27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27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27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 nodeType="clickPar">
                      <p:stCondLst>
                        <p:cond delay="indefinite"/>
                      </p:stCondLst>
                      <p:childTnLst>
                        <p:par>
                          <p:cTn id="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27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27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 nodeType="clickPar">
                      <p:stCondLst>
                        <p:cond delay="indefinite"/>
                      </p:stCondLst>
                      <p:childTnLst>
                        <p:par>
                          <p:cTn id="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813" y="2135188"/>
            <a:ext cx="2282825" cy="201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27" name="Picture 3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263" y="2690813"/>
            <a:ext cx="785812" cy="110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  <p:sp>
        <p:nvSpPr>
          <p:cNvPr id="30723" name="Slide Number Placeholder 7"/>
          <p:cNvSpPr>
            <a:spLocks noGrp="1"/>
          </p:cNvSpPr>
          <p:nvPr>
            <p:ph type="sldNum" sz="quarter" idx="12"/>
          </p:nvPr>
        </p:nvSpPr>
        <p:spPr bwMode="auto">
          <a:xfrm>
            <a:off x="8604250" y="5165725"/>
            <a:ext cx="325438" cy="131763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38978F7-6ED7-43C7-9AE7-0F086B1C6428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smtClean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60363" y="428625"/>
            <a:ext cx="8997950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Video distribution - Mobile</a:t>
            </a:r>
            <a: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/>
            </a:r>
            <a:b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GB" sz="2400" dirty="0">
                <a:solidFill>
                  <a:schemeClr val="tx2"/>
                </a:solidFill>
                <a:latin typeface="Rubrik Light" pitchFamily="50" charset="0"/>
                <a:ea typeface="+mj-ea"/>
                <a:cs typeface="+mj-cs"/>
              </a:rPr>
              <a:t>Comparing mobile video delivery with traditional methods </a:t>
            </a:r>
          </a:p>
        </p:txBody>
      </p:sp>
      <p:sp>
        <p:nvSpPr>
          <p:cNvPr id="33798" name="Slide Number Placeholder 4"/>
          <p:cNvSpPr txBox="1">
            <a:spLocks/>
          </p:cNvSpPr>
          <p:nvPr/>
        </p:nvSpPr>
        <p:spPr bwMode="auto">
          <a:xfrm>
            <a:off x="8604250" y="5165725"/>
            <a:ext cx="325438" cy="13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>
              <a:latin typeface="Rubrik Regular" pitchFamily="2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429625" y="357188"/>
            <a:ext cx="285750" cy="214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3800" name="AutoShape 2" descr="data:image/jpeg;base64,/9j/4AAQSkZJRgABAQAAAQABAAD/2wCEAAkGBhQSERUUExQWFRQVGBwYFhcYFhYXFxcVFRUVFhUVFBUYHCYfFxkkGRYXIC8gIycpLCwsFx8xNTAqNSYrLCkBCQoKDgwOGg8PGiokHyQ1LC4qKjAtLzAsMC0sKiosLywsLSkpLCwsKiksKS0sLC0pLCkpKSwsLCwsLCksLywtKf/AABEIAK4BIgMBIgACEQEDEQH/xAAcAAACAgMBAQAAAAAAAAAAAAAGBwAFAgMEAQj/xABREAABAgMFAggHCwoFAwUAAAABAgMABBEFBhIhMUFRBxMiYXGBkdIyU5OhsbPRFBUWFzNSVGJzdJIjJDQ1cpSiwdPwQoKytOIlRGNDg8LD4f/EABsBAQACAwEBAAAAAAAAAAAAAAADBAECBQYH/8QANBEAAgECBAMFBwQDAQEAAAAAAAECAxEEEiExE0FhBVFxgfAUFSKRobHhMpLB0QZSU/Ez/9oADAMBAAIRAxEAPwB4xIkeEwB7Eisn7dbaGZED09fsJ2U6aJHaqkAGkeVhar4Sh85HlWu/GPxl/WR5VrvwAzKxKws/jL+sjyzXfj34yfrI8sz34AZdYlYWnxk86PLM9+PfjI+s35ZnvwAyqxKwtPjI+s35Znvx78ZH1m/LM9+AGVWJWFr8Y/1m/LM9+J8Yx3t+WY/qQAyqxKwtfjH52/Lsf1I9+Mb6zfl2P6kAMmsSsLX4xj85vy7H9SPfjFPzm/Lsf1IAZNYlYW/xiHejyzP9SJ8Yh3o8sz34AZFYlYW3xiHe35Zn+pE+MQ72/LM9+AGVErC0+MU72/LM9+IeEQ72/LM9+AGVWPYWfxiHe35Znvx58Yqt6PLM9+AGbHlYWXxiq3o8sz349+MY70eVa78AMysewrZjhPwCqiKaZLQrzJUTHMOF5G+AG3EhUJ4VQd8ZjhS/uo9sANSJCyY4VEE0Ji9s6/7S6AmnTABhEjllLQS4Kgx1QBIkSJAEgdvFboaSc+bLMknRKRtJ/kSaAEi6nnsKCYXVvSq5gJQg0cmXlS7R2IZbBVNv03koKRzBI/xQBRyqZu03lIYUW20nlrB0roOM1KjuTQdOp7nbn2VKn87nGeM2hTgUrrFa+aBa/t9hLg2dZxLTDVUuuJNFvOaLqsZ0rkSNTzACFkqAHwmcu6MvdDR6l92J7uu549rsX3YQhjFRgB+e7buePa7F92IZm7n0hr+PuwkLJ4vH+VSFJyyJI9BEbLe9z8YkMoCU7aFR9JMbqLavc1b1sOhTt3PpDX8fdjHFdz6S1/F3YCbBuhKutBSmwTT5yx6FRum7sSKEH8iMW/G53o2yNbi65Blxl3PpDX8Xdj3jbu/SGv4u7ChmLJaTU4MtmavbGhmRZJzSO1XtivxDoTwMowzZo+HP7DmDt3fpDP8AF7I9x3d+kMfxeyFhZ1gSy1gFAoT85XegvPB1JYMmxX9tzvRJTvUvYo1Fw7Zi/Iu54+X/AIvZGCmbuH/uJfzwvLTuW0hRwgU6Ve2LCSu/IholxgKVvxuj0KjWcstySNKUkmkFypO7v0mX7DHiZG7v0mX/AIoXgsiXJVSXFNnKc0/FFLaFjBOYRQV3nTtjCncOk0OD3Jd76TL/AMXtie47u/SZb+L2womLGbUkcnPbmfbFpJ3VbIzar1q9sM5ZjgZvW6QyfcV3fpMt2n2x77ju79Ilu0+2FPNXeSlR/J0HSr2x2WbY0sojGgU/aV7YOViGFCU9hme5Lu+Plu0x6JO7vjpX8aoE7Su7ZyWqoZBXT57mv4oHl3Zbw4w0OjEr2xBDEKeyZPHAzlHNdevIaPua7vjZP8So89y3d8bKfjV7YTltSrSEjA0kHbmvLtVGlmz21NhVADuqfbE0ZXVytKnldrodPuS7vjZTyivbE9xXd8dKeUX7YW8pcrjUYksbNar9sUUxZKWllDrdD0nzZxvyuI03J2TQ5fcN3vHyvll96PDZ13fpEv5ZfehTsycsRTixi/aX7Yp7bYbRQITQ9JPpMCG+th2my7vfSmPLK9seGzLv/TGR/wC5CGZ0jOBkdj9gWMo/krSl0n6yh6cQjjnLhTCUF2TdbmmxmeJWFn8H8gSYT8ddl2s9LOBxhxTSxopBp1HYRzHKAGldO/TjbmBdaJ8LXk54eUDmnOg6TTdDpsi1A8gEGEfLW2i0mvdvFpE7KU92ISAEzUorkLcw/OCSQeb/AC0ObnTZYfXLlWJKTVB3tqzQSd9MuqAGREjALiQBUXitANpFSK0UoCoqeLQVmg25CB2ac9zcvbJ2YtQ+0dIqrpJY85iwvqMjzNPedhQitv2aN2nzSDQ7XJuAPnJwk5nMnU7ydTGkxtXGpUAYGMTGRjFUAb5GUKzzDUxptNIx0SawV8H0shxTyV0zCKdq6xjeC7raZoYTlSpHojNtLmVJNqCXmWdy3nA3hJyjhvFNLU6lCM6nZ/OOuz5oNqpUU9ME1kWQhxCyCAtQISTsJ0jXPm08WSZMr+VgOMuleBOIEnccgdM92caTY5DlCKDb0wazd0JZCwriVFQUlOMOpzURXHhJyAI0i1tGyW0DEaE0FdNaaxDRlxFeJalGMJJVRaTDBacScRAgzsZ1TtBirlnArP2aXn6V5IPbBbZrSZehr/YjZVoQmk+ZNLByqwlKnstjmvDJlBCa6xY2Fd4LRmawH3uvTidFNI6bq3lfccwMtOO7whCl4dxOEZDpi3GnBVLPZnLnWm6fw7oKLQuk4qoaWhAArVQJrrkKaaawM2hduYSpHHKQuqsGIVHIVriBA0Oh30hhe5HlpKnmXEISUk8rCcQUKAhKsVOUcqUgdsyWDjimwlSuMJqlaySo1qPCNEjoinXqOFZxjtyLdCjGdBTlo+bKez7pLbUQrQQV2RMtYSk0qnIx1vzuBXFuNqbUdApJGzZsI6I53rAQ2FOjLFmYzhq8p3U42IpwnKLyt2BS9VrtkFKRVSdeaB9q1WeLFfCppGdqT7SVrpQkmCK61321yqXUsNLWsqzdqQnCcsKdKUGtNTG9ScY3k0ZpKekYsGZW0wpfNsiym7bwowgR0XjkEISAWmmnqlQW1UIcTWlAk+CfNlFEyoLBFc9KRmMlOFkjEVaqs70OWaWMQUo8k680eTSGkqTRQwkgmOK05dSGs9p/nFdIMYlVIqIwtTaslGVu8+jbv2k17nQUgEUhScK1opcmU4BSmsW1n2uZWUxeFlv80B84h+fcxJbIHm7YuTTUbPmUYtZtDZdiwHZlRWk5CPb1XbcbTxqvBBCeswyOD+7q5Zii9TrGHCqgCzlU8Y36VRmVOmoX52NFVk5WE01pGcYNaRnFQsEiRIkAFXBfOYLTYQfAfxS7g3oeSUUP+bCeqGc26UTMorapgJVzqaOA+cKhR3GNLTkvvLXrEw2p/wCXlP2nx2TDsYAz238h0RI0NeCOgeiJGQVl9PBV9k96pUVfCB8lan3Fn1s3FrfRJwk0NOJeqdg/JGlTFRwh/I2p9yY9dNRkHzquNRjauNSowDAxiqMjGKoAvLrulPGFOvJ9KolspUpypUanLni04PEJPugq2BHnK43W5ZGJYXXTqhGEnIn40OFka1XM23Pug5MrwlWBCUlS3DngSNTzmCyXn5BjJtUw6rEnlKwpRQKFSEjPSusc9nccxZsw4GyW3W6YwRyUpUUqKknOhrSogYaXUA74p1qs4PLax6zsnsjD4i86ju1ayT6X1+1g1mbEdenUtFtQTUq4xO6lUqTsOVM445yQJQVpmm30pzKalDoA1JbVrTmMc0veNwSimhMuA4qBumXF0zHGajP/AA1pHAJNSCypQGBzTMVpochprGlOagssFoZq9iqUZyrTs1fLbnZN8+/pfZ6s1yDCnVqKRkPTGu12XkiqqhMMKyrDSy0Cka5mKa+UwgMkGmcS1W4VFHKeWo1bRdmLD4PuzUw0y0MS3FBI3AHVR3ACpJ3Ax9I3VsFqz5ZEqwK4flF5YnFnwlq5zsGwADZCmuU6WWlzAoFghDat1KKURv8A8I7YMLtuTLlpEukCXcbUhTIBw1UnFiUCak1BGuQMZddZ3TdtB7PJx4kVpv4B09LBSFJNeWKYsqjaPPA7YFyuIdLq1hajUJoDQV21Oen84IXnEMoAUug0BWaknUVJ1NPRA03eBSi62FKUorKGykpBKs1IS2sA5dKSKVzjVpU5LXw/Pfbl+Nc041JU5W25/j+QrmbGZda4taAQSVDeFkklaTsVU1gLtSzsTRRXTLsgktyfxMkJUps0BDozSCTkF0OLCa0qN8L2XtcP42+NSl5JUHK1NCDoQB4Xmz12xaTV0u8iipqDs7LmuneCK7CRxuAJxqJ0AqYJZSqZcoQ4tGBeDCBooqBJzplRKhlv1jjti2/cFWG0FD1fyriwKlWqSOamY2Culc4HmLTW4sJW4CCKBThVhSakg1GaRXbzxVr1Myydx3MN2W4QdZPltvf/AN5FnaUkh9aCoqK0q4sVFCpazQKoKADI57aRpsu7obVy8q/3nHbOzrbLZbStDrxILi0EKQgDOiXB4S+cZAVoc8uQXldSaqIXXP8AKISrdmCpNdmyGHrqi/iVySXYlXF0uJCSj0fPqdNsXVDrZCR0RQ2JwdTBriyEG1h3ubdJS4lDVE5UJopdcqA12bKj+UXlk28y6FALSgpOEYiAFnPNs/4hlXZqI6Cq0XFNaHAxOAxdGUlKN7Wu1qtdijs+4CEpAcJUBs2dkEMrZTbYolIEWCkZV2bCMx2iNSom31RyndOzNaoDeFX9XK+0b9JgyVAdwqfq5X2jfpMay2NofqQmmtIzjBrSM4rFskSJEgC6uR+spL7yz61MNy0/0mVH15j/AHL0KO5P6ykvvLPrUw27TP51LftzH+6ejAGSz4I6B6IkRnwR0D0RIyDRfEfm7n2Tnq1QO8IfyNqfcmPXTUEV8f0dz7Jz1aoHOET5G1PubHrpqAPndcaVRuXGlUAYGMTF8/YiBJuPAqC2nm2jnUKS6h41pTIgtbNiooTABDdJSqPBGpweYri9bs9555tupOIgZ1Az3xWXEaqmYINCkIp/HBPZE/gViUTUGojEr2JaTV+/oclv2m822uSWRgCdg8IVqBi3AjdGV1JZhTqEzKgEYDqSAVACgURs180X157C92tJeYIxUzBNKjaBzgwFLqkkqypkBtqObpjmzk2otu/ie77Nm6yqxso35xVt73fjoH89cNggqQ8Ek8pKBQ0TWuScRURhyrvzgdk1qXacqwVhTaF4EmlAUUxJqdpzp1QNlsmlNYsrOdKHG1kUUhSTUcxGcZc4vRK19zFbBYh0ZuVRysm1p011XO2nmMu8s+qWGAppXQ7DAS/Je7HEpWqiagH20hkXjk/dDRO7MdcLW0pFTa6JNCInry4NWMZXfczxuBwbq4eU4vVBRJy7KHUMpzal0Fw/WVUBJUNgxGvVF1dS2W3JkAHlHFQbckknzCBSVUhLRUUpCiKqOWInp16o6ODN1D8/iSKcUhRPSoFI9JPVFLC5XVlxN192be23hKEFpt4L8hdbU04rCMgpKq5EpUcqUCXKbzlXYOoWtJlKkJKF8W82caHC4lFKimYSshQNNa9G6GJOslYI1G7WnsgdmZAJUCENkp0qKkdCRHSlBPkQqvNQyJ6AdO33mkNOszaVVwkJWCChdRQELG0eFrWAGWmHFrxs4sQNARWopoAYZlrWaJnEy4aKUrjMtKYimlR059Ijrsi7DUuKJA7Ixh6cailvdO30Tv8AUe2SoyTSW39ibfYc4yiwrEDWh1rrWCN2wnmwhSSlasOMhFVqQBhIx1TSvKA1NSDBdfiyEFpLwTRaDhrvSquR6DSnSd8UEje9xpOEoS6RQJKy4EpCajlJSoBR59+esQ1oqE8rPV4CpVr4ZV6K1bakr9xXzTbylrU+SVoHKxqFaBQFBoFHlDICsbLy2umYLYaSvkpw0UakrJ0SST0R2vX0dUcgRlQgrJb/AMWiSMW3QqPoprulI8ZMJNOS3yyeceCPxUPUY1g8zyLmWqycKTr1IqPDTtbqrevGx1G4jqWwQ43xlM0lJpi2pDlT24YuWbgtLaRiU4lxI5RSuqSo68lYI5qimkXhjrYOUdRYamtbHhK3a2LrwUJz0TvyX2ByWsadlj+QfQ4n5iwpBI3E8pJ66Rby9uJPJmEKlnN55TSj9VYyHRXqjuJjmmmErSpChVKhQj+9sY4GX/5u32IPaXPSqr/czngUoxChB0KSCD1+2FvwiWmtcmpKgaY0+YmkESbJm2ioNvIU1SqEqFDirovmIJzFejbFLwmMUk1H66PSYypScfiVjWUIKaySuhWNaRnGDWkRbgERExnEjUh/MVGW2mtNtIIbwXUXLAOA8YyqlFgUpXNIWNldh0PmgDG5H6ykvvLPrUw150/nMr+1Mf7l6FTcf9ZSX3ln1qYab5/OJTpf/wBy9ADQZ8EdA9ESIz4I6B6IkAaL4/o7v2Tnq1QOcIvyFqfc2PXTUEd8f0d37Jz1aoHeEX5C1PubHrpqAPnVcalRtVGpUAFUz+rZr73L+rm4EFQXzX6tmvvkv6qbgQMZYCm48spSZgpNAkIqN9cfsjrTMYlEE0pl00jhuU8QHwDQEIr1Y42W9KBOaFUrr0mEIuUrS2JY1HSWaG4Qyl58DdG1DXppnRUVtoLK3CqtaknTXPWAySm+LdTi0ChUbwFCsGE5QKO4E9lYoYuEYtZUex/xyq6yqym9rfW54G+enUIsrIkeM4wVFUtlaanMqSUkADadYqZZWLPPo2b4JboWZxz9CDQJJJzyNMs9h17IrU4uU1E9HjZxWDqVNlZhQL6MtsllxRD+EEJwnOqaih0pAJaNpKLuMnXZGF9HngtLOErebWQhQTqyQaBShuVp0mNdl3ImnyC6cCdw17Y6DozrSi3sj5zHE0cNRnCLvKX2OeZtkqUQNDlFxwe3rRZanXZht4h6iUJRgzw5lSsShpkB+0YKrKuOy1QkAkb8zHHf67gXLpW2PkjiUKDNBHKUCRVNNTTUa6CLCwyzZvA5HGWyRZjhvkF+EH2+ZTKVedCjlGocLFmKNC6RzlhVOziznAUjgnmnWeNwoSSMSWyohxQIqNlEqpsJ6aQun04FFJBqDTMUIIyII2EHKN3w27wlf162N7S5oc9rcKckXmkMqcKa/lHwjCAklPISFUOGoBJI0qACTUF6XAQCCCCKgg1BBzBB3R832dJKeVhTQKKVFI3lKSrD0nDQc5EPa5r+KRY24U4K7+KUW6/wxtBKMnZavX5aEFVaGN9HwmUXXaUhP7WIHPmoDC3UmDu+1p4UBlNDizXnoAapHWRXqgUdspxKUrU2oJUKpUUmhFQKg9JHbHMxks1XTkfRP8boSp4JOemZtq/lr9P55lYR/fshh3Vs/ipcEiinOUd9P8A7M+uA5FiuLbW4kUSjXYSMjVIPhAAgmnzhvhjIySBuA9A3RLgYXk5M5/8AlGIcaUaMXo3r5W0+qZkox0sHKOJa6RmzPJw1rHVbS3PBxTex2KMa1KjlmbQCU4tkCnwmVx9FHkmIJV0tEWI0JNXLu2LVLRFM60FN2tTX+9IFuEqdJk6EUqpB7KxZWxayKJpmQoE8wgNv3b5mEUAohJGe8xDGTlG8nr3E/DUWrLzA9s0EdNgWaJiYbaUopSokqUBUhKUlaqA6miTSu2OZsZR02DaQl5hDpTiCScSa0JSpJSoA7DRRplrAyWtmy0hMPNsoRNIU6tLaVqeZWEqWQlKlIDKSoVIqAoZQxLBZS/ItIcFUraCFdmGvmB6hC7s+bkJd5t5Cppa2lpcShSGUJUpBCkhSwtRAqBUgaQw7CeDEi2teSUNBauzFTpqadYgABuWyU2rKJOqZptJ6UugH0QzCqr0kd/HHtmHoWlyXSu1pRR1VNNqPSXQYZI+Vkeh3170ANVnwR0D0RIjPgjoHoiQBovj+jufZuerVA7wi/IWp9zY9dMwRXx/R3Ps1+rVA9wifIWp9zY9dNQB86rjSqNqo1KgC2mLdBlXGAk1deQ6omlEhtDqQkDbUuk15hFIYyMYmACa5EgXi6kGmSf8A50gtnbpYWSFZkDWKHgzQavkbA36XIYkpNY1BK9DHMni3TxHDe2lvM9JhMFTrYWM7a63+bFLaN3AlNRHbaTakNoxaqbSrqUkEdcOaTuuzQ1ANYX/CbYyZdWJBohSdNyhlRPNF7EUnkUn3kXZ2Np0K1WKdoyX1Xpg5YhK8SQCTXIU1yEFdhXnMg28C2VOKKMCdATiwkHdkrWBG7Lxam2xj+UQQa7FKTUeeL+8rBWynixRxDqOUQQSTXLoqIqU2qVdO+m/9l7E9qrEYGVFx01W+t90/DYKrNtxqYeONGF3KqTqmume2CB18IG6B6x7MIIdWPyigMR6BSLG028aNdY6ccTTqXdN3PEUI8aWWGtjGQtsOOFI2GOu0XkYFJX4KgQegihjisqyENpxp1Ov/AOxutFhDlEq27OmI44qErrZ7FinhKlSq4QWxeydppcaS5UZ9Weh88IDhUsri59xxNOLfJcRTqC67jjxf2YbV67IeZQiWYSeUoJBBAFCqqlKOyKG811kvsMpVmWVDM15STk4DTPOgPUIqUZZXLNpa9upbxVWEYwTauxO2bMLQ6hbfyiVBSaAmpSagUGZ0htXIt5SJUNOpKFNqIAII5CzjTrnliI6o3m7TLbam0pCRSpIFCRzkR3WddVlhhBTkMs1HWpJzJypmcoyu0Ixtdb6IixGGyOMb3cnp68zokrviYWZh5xSRQcWlJFU00WSQQN4Tz1yjmatVKVzCJh7GlCkqNQMTwp+TLh1WARQI0rmdkdFt2zxDJWpaSCaIAIII6hmeisKRy01Ozdc+WcO2mennoeqI03KTaPQ0cTJONKb00iulrbO2nphDaN5Hpl7i21YMyhG0qQaVDm8U3aUO8wcys+EoAOwADqFIG7IsMS4UvwnqcpRpkQM0I+anzmLSwUVSXHNKdQrnFvC0qtSfw7d5w+0sdTlHLbRPTrf1/dzrbm1PkpQNI1Ku46Ea0zHZWN1lT6eNcU2MiYtXrYIFKV3x5zF4zE0MU4Q+JHSp4HNh1OK5XAu9N4S0EMJBxEQIWhaJbUCvqpzxf3qnUKXxtM06VigmmRMIDh13R6WnNVIKc1Z9xyeHKLyxOX33U6TTSOeaWVS7hNclpFesxY2dKZqoKbI7LZlkN2etIHKxoz3ipjaOV6GJRklmYHNaRHG6xGtIzgRmpDGYqcttNac0EFv3qcmQEAcWymmFANa0ySVnaRu0EUkSAL64H60kvvLX+sQzVCj0j+y7692FpwffrSS+8N/6xDOmRSZk/wBl317sANBnwR0D0RIjPgjoHoiQBovj+jufZr9WqB/hFH5C0/uTPrpqCC+X6O59mv8A0Kii4RR+b2l9ya8z0zAHzguNRjauNSoAwMYmMjGJgAu4P57iuPJNAeLB6yukHsxaiFIGHJULO7dPc83Xc36XIpWLfeQQQ4TTYcxHNxOBdSXEi7N/wd/s7tSlRgqdWL02a6959C3anSpJxqFRAnwozSFKQ2oFQpiBB3kilOqFrNX2mFCiVcXvwk5x0WbbbjyFJdVjKTUEiqqHKld1fTFuMpxwyjU/UhSWHrdot07ZZJ8ra2Cy7djILhmiiqQnkIOeaBnn1RZSlplxxAUylKFqyNFHlAVFCTE4PJwvHiKgBulQaZhecV9pOGWmFhxRPEqI6k1AoNg0yinXUmnpurFrCUaVSGMpNapNrws0Hk/PpQ1XmgXdmHFpNF5RXWtedpxk0VoIBXL3uYCgZV2xV7PoSpqyjZX1PLdiulTjVdXSVvh8RnyForSjNVQDQxYiZS4pCgoZHPPdCesq8bgBQo1Bgjund6efq42qjedMVc+iOyqLrOUHHTkXcHiuBWz96sxv3in8L9cSKJBJ5XKGWJIw0qK5bY4ZSZC0ZiNPCIh1Ejx5QMbbLQVQglJUtsOUJz2ntgHY4T0MtoAbxqJAVnSg2nnPNFHG0Ks3HIlp97/g4eKpznP4VdFvfG0gyc65JqE6A1HJJO7mHPHFM2st4Nox4AlIIzoCtSU0BVs11OQzgzTMs2m2yhoocJQM8NeLoOXjBFUUOVDSuzWAS8diqlZniX3EpCuVxlapKCTmAc65EU39sRQo5oppXd/rs/rzPbdkVqF+JXaThHS/fbV+S5dehzzay4yQ4CC2vUZBWRBqNCoUpXWhz0Ect1GGxOY1UKW0FdTv0HnIjovZeBhaUsy55KR4ROprUlR2k5k9MDtlzvFOqKvAUnCroJBNN5yyi5w3SqXeu38FTEYt4xOMPhTv5X5hc/bgLuGtEKOe6Le8Fpoblk8WRsr0bYB7VUkNocSQUrChTalSSMjvyIIPTujKz5Ja0flFZbBzR1KWIjCLV9HszkvsyvUqcNQcpR3t90MSy35dLAONIUeffHFbN5mWBkoKJ3UMLe3kFS0MtnXPsjmnbJWyipUDv3xzq2DoSxirRn5W0udKjPGww04yp6R0b7i/tR9EysJGmp3dEapZ4cpCRyUfyyyi1s0shlvCK5Cppu9MWd1rvpemFhNMOpy2mLSs58NO5FLBV40FinGy/g9mLNZYkQpRAWqh561jkv7Z6RZaXEDLGjPmNYu7e4NCtXGKfJSmlEbIx4TRhsgoCaBK2u2qhF6dK0W0uRyM09EJdrSM4wa0jOOeSEiRIkAEPB2P+qyX3hHphnzv6VJ/suetdhY8HI/6rJfbo9MM+eH51J/sK9Y4YAZrPgjoHoiRGvBHQPREgDTe9NZdz7Nfq1RRcISqy1oc8ig9Qdf9sFdtS2Nsp2KBSehQKf5wHWh+ccUyrIzkg8yPt2sBwnrUv8JgD51XGlUb3myklKhRQJBB1BBoQeuNCoAxjExlGJgC8u+Ky80BuR/9kDZl1fNPYYO+DVrEXxQHJGvS5BsJBHi0+aOfXx6pTyW2K062WTVhGcSdx7IvLmymKbbStt1baqhwNpJXgoakCmw0MNf3tT4tHYIzVK0QtKAEcYnApSRRWAkEpB2VpQ81RES7RhLSSsvXQ3pYx05qaWwFy06w1ajbkuHEMcjECrErkVCsVN5oaQVX7t5E5LrShLaGXlAId4ol5x1NCoDTdhNaZVjdLWWE1JCVEnXCE0AAAGUV8zdXGVAuu8UpZUpoKGDlAUAyqnQ1oc67ILtCnez5bMn9vXEnJK2ZW3b8/HxFC6wRpUgioNCB/daxr4o7j2Q8pWxmm0hCW0gDTKvPmT0xt9wI8UnsEY96R/1KntHchJ2dJLWtKUpJKiAMjmSaCPpm7divMSiQ22CUpGRVgx6YsFQdlaFVKmmgzgRVZqVjCkBtRFEqAzSo+CrLZWleasXPw5nFSgmC2w3WtGFLWHHKEA4FkZKUUqwihBxCucdDCY+Mot25+vmSU5yndrQF7/LnBxpK3HpaZSW0IIw+5VN0cKHUgUBFPCrmNuVIVqmTmKUOng6Z9GsMmznzPiYemHXSJkisu2vChKGlUaSoqyxhSBs0xak5XZaQSTgRmanIbTWK2JxdLD1XCKuvwJ1XFK+4tLgXqMjOtqVyUcYA4c/AUMLgoNUkUNDoUgiMr4Xhcnppx4hQTUhpPzWweSOk6nnMX9v3eSiYbdYQtbilBwjAFsZBQIrTkrTQVSa1qCKwUFpsaoAO5QAUOYg7RGJdoQjBSSumKryWfeJ1TZ3GN8lIlw4TUZVBocobZDfzUdgjku9Y7L7k0DLFa+OAQ6plx5hCcA5CkNuIKDU1xZ5RPhcRHFNxWllf6maGJy1E7eV9+gupGReQotlsuN1oaZgaGv1emCy3rLbly2kTLeF0Ym1KVhNBQELqKJIOWtDBBO3Yl22yUNMuziWXFBlJXxDgRNOJcdRysThQhIo3UZZ5mB280vKNy7bjDZK52jqQupEs0k4VtNmvKJdCuUf8IHTF6ODUnq/p+TqQ7Yr0bqCVtVrvZ9dHpy8SonrCLD7SirEpYJ6tlOaKu3HFFzCfBABp6YbtlWIhyTSpLCUrDayp15twoURiOJDyXAEZCgBTqI65yzrPExxC0tpJcaCQhLqVJBAUsPOKOAg1pydKxSzfFmSR1XTkqMsNnk3dttK+2mvxee4JLu2gSCXUrzAByOoi24NZQJU6oqIGQqeYGLeXsZqgVMy7TDgD54sYygtNtpUhxTYUSaKqKgivZGtcnLomQ2JdpSVSynSujnFqWltSwWOWeQcga7QdIlhVyVFNL18jbLnwzw825PdStyXJfFZ7cgUvBaxNpMMMPrW2VjGK1FQa0i14Vx/0xzP/ANRr0qiys6yW35UOIlm2llC1KW404WjSpBadDnIAAoAoHMbdoDfKYJs8AqURiRkeuJZdoL9Ml+rY4uLwyw6/Vd3ta1u/q+4XrWkZxg1pGcalMkSJEgAl4NE1taS+2B7AowzZw1mpSnzFf61iATgflK2kl5Xycq24+s7BRBSnzq80H1gsl6Ylz82XSo9LpxjzDzwAymk8kdA9ESOxEtkOiJAHQ+3iSRC1v3JONoS40aLYe49o7lKycR0KNFU21UIZ0cFp2Wl1JCgCCKEHQg7DACUvNcwWqgz9ngccf0qWqAoO0zU3XI11pt1GdRCun5FxlRQ6hbahqlaSk9igId8zc+bkXy/IrrXwm1mhUmtcOI8lfXQ+eLIcIywMM5IuCm9orT1EAiAPnPGN47Y8KhvHbH0YL82af+0R1y6e7Hqr5Wb9Eb8gnuwAk7m3iZlS6XSrlhNMIB8EqrXMb4J08JEp/wCX8H/KGF8MbN+hs/u47kefC2zfobP7sO5FSrgoVZZpXuQypRk7sABwkyn/AJfwDvR78ZUn/wCX8A70MAXpsz6Gz+7J7keG9dlfRJf92T3Ii93UuvryMcCAAfGVJ7nfwDvR78ZUnud/AO9B78KrJ+iS/wC7J7ke/CiyPost+7p7kPd1Lr68hwIAF8ZUlud/AO9Hnxlye5zyae9B4q9NkfRZb93T/TjE3osj6LKfu6f6cPd1Lr68hwIgKeEiS+a75NPejEcIshTwHOji00zNTli3wcm9Nk/RZP8Adx/TjMXmsf6NJ+QT/TjPu6mub+f4M8GIBI4QbPHgoWOhlA9CoyHCNI/Nc8mO9B8LxWN4iS8gnuRn7/2L4mS8ijuQ930+vzMcCIAjhLktzvkx3o8+MmR3O+THeg/9/rE8TI+RR3I9FuWJ4mQ8k33Ie76fX5jgRAA8Jclud8mnvRxPXysxaipTSypWZPF5k8/Lhme/dieKkPJN92ILasPxUh5JvuxvDBRg7xlJeDHAiLD4V2V4hXkx5uXGIvTZXiVeT/5w0xa1h+KkPJN92Mhadh+KkPJN92JOA/8Aef7mZ4ERZfDmzvmL8mO/HhvxZ/zF+THfhoGfsPxUh5JvuRj76WF4qR8ijuRF7FDvfzLPFq/9Jfuf9iw+HFn/ADHPJjvxDfmQ+Yv8H/KGh752F4qR8gjuR4bUsPxUl5BPch7FDvfzHEq/9Jfuf9ivN97P+Y5+D/lFVeq9ss/LFpoLriSRVIAomu2phye+9h+Jk/3cf04x9+LD8RKfuw/pxtHCQi1LXTqaSc52zybt3ts+bmjlGVY+jvfuw/o8r+6juRibfsMf9tL9UqjuxbB851iysO7sxOOBEsyt1R2pHJTzqX4KR0mHTaF8bMR+jyEuVfOUw2kdQAqe0RTTt7rQmxxLADbZywtJCEgf5antIEAV01JIkJf3tYcSuZmCDOvpzQ2hGfEoOpSnMk7TXaaBpXJsPDVwpoVUoDqlCUhKE9SUjrrAzcbgvLa+OfOJeoGwUNQTvNc6aDI5mhDVlpcIFBAG2kSPYkASJEiQBrcZCtRHI5ZKToSOgx3xIAG566PGGvGug/VdWnU12GNMvc5SFVD755i6sjrBMFUSAKdNhmnyiu2NC7tqJJ41wV3OLA6hXKL+JAA+m7qwflnOtZPpMdSLFVtcV2xbRIAqzY5+ertjlcu8s6OufjV7YvokADvwcX453yivbHW3Yyhq4vti3iQBWe9B8Yrtjz3nPz1dsWkSAKv3mPz1dsT3m+urti0iQBVe8n1jHhsEfOMW0SAKn3gHzj2x57wJ3nti3iQBUfB8fOMeG7w3mLiJAFN8HU74nwcTvi5iQBS/BtO8xPg2neYuokAD05cxl1OFxIWkGtFZiu+kcQ4NJPxLf4RBdEgARPBpJ+Jb/CI1HgqkTrLt/hgziQALSvBzJt+Cw0P8ifZF1LWK2jwUgdVI74kAYpQBpGUSJAEiRIkAf//Z"/>
          <p:cNvSpPr>
            <a:spLocks noChangeAspect="1" noChangeArrowheads="1"/>
          </p:cNvSpPr>
          <p:nvPr/>
        </p:nvSpPr>
        <p:spPr bwMode="auto">
          <a:xfrm>
            <a:off x="155575" y="-792163"/>
            <a:ext cx="27622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33801" name="AutoShape 4" descr="data:image/jpeg;base64,/9j/4AAQSkZJRgABAQAAAQABAAD/2wCEAAkGBhQSERUUExQWFRQVGBwYFhcYFhYXFxcVFRUVFhUVFBUYHCYfFxkkGRYXIC8gIycpLCwsFx8xNTAqNSYrLCkBCQoKDgwOGg8PGiokHyQ1LC4qKjAtLzAsMC0sKiosLywsLSkpLCwsKiksKS0sLC0pLCkpKSwsLCwsLCksLywtKf/AABEIAK4BIgMBIgACEQEDEQH/xAAcAAACAgMBAQAAAAAAAAAAAAAGBwAFAgMEAQj/xABREAABAgMFAggHCwoFAwUAAAABAgMABBEFBhIhMUFRBxMiYXGBkdIyU5OhsbPRFBUWFzNSVGJzdJIjJDQ1cpSiwdPwQoKytOIlRGNDg8LD4f/EABsBAQACAwEBAAAAAAAAAAAAAAADBAECBQYH/8QANBEAAgECBAMFBwQDAQEAAAAAAAECAxEEEiExE0FhBVFxgfAUFSKRobHhMpLB0QZSU/Ez/9oADAMBAAIRAxEAPwB4xIkeEwB7Eisn7dbaGZED09fsJ2U6aJHaqkAGkeVhar4Sh85HlWu/GPxl/WR5VrvwAzKxKws/jL+sjyzXfj34yfrI8sz34AZdYlYWnxk86PLM9+PfjI+s35ZnvwAyqxKwtPjI+s35Znvx78ZH1m/LM9+AGVWJWFr8Y/1m/LM9+J8Yx3t+WY/qQAyqxKwtfjH52/Lsf1I9+Mb6zfl2P6kAMmsSsLX4xj85vy7H9SPfjFPzm/Lsf1IAZNYlYW/xiHejyzP9SJ8Yh3o8sz34AZFYlYW3xiHe35Zn+pE+MQ72/LM9+AGVErC0+MU72/LM9+IeEQ72/LM9+AGVWPYWfxiHe35Znvx58Yqt6PLM9+AGbHlYWXxiq3o8sz349+MY70eVa78AMysewrZjhPwCqiKaZLQrzJUTHMOF5G+AG3EhUJ4VQd8ZjhS/uo9sANSJCyY4VEE0Ji9s6/7S6AmnTABhEjllLQS4Kgx1QBIkSJAEgdvFboaSc+bLMknRKRtJ/kSaAEi6nnsKCYXVvSq5gJQg0cmXlS7R2IZbBVNv03koKRzBI/xQBRyqZu03lIYUW20nlrB0roOM1KjuTQdOp7nbn2VKn87nGeM2hTgUrrFa+aBa/t9hLg2dZxLTDVUuuJNFvOaLqsZ0rkSNTzACFkqAHwmcu6MvdDR6l92J7uu549rsX3YQhjFRgB+e7buePa7F92IZm7n0hr+PuwkLJ4vH+VSFJyyJI9BEbLe9z8YkMoCU7aFR9JMbqLavc1b1sOhTt3PpDX8fdjHFdz6S1/F3YCbBuhKutBSmwTT5yx6FRum7sSKEH8iMW/G53o2yNbi65Blxl3PpDX8Xdj3jbu/SGv4u7ChmLJaTU4MtmavbGhmRZJzSO1XtivxDoTwMowzZo+HP7DmDt3fpDP8AF7I9x3d+kMfxeyFhZ1gSy1gFAoT85XegvPB1JYMmxX9tzvRJTvUvYo1Fw7Zi/Iu54+X/AIvZGCmbuH/uJfzwvLTuW0hRwgU6Ve2LCSu/IholxgKVvxuj0KjWcstySNKUkmkFypO7v0mX7DHiZG7v0mX/AIoXgsiXJVSXFNnKc0/FFLaFjBOYRQV3nTtjCncOk0OD3Jd76TL/AMXtie47u/SZb+L2womLGbUkcnPbmfbFpJ3VbIzar1q9sM5ZjgZvW6QyfcV3fpMt2n2x77ju79Ilu0+2FPNXeSlR/J0HSr2x2WbY0sojGgU/aV7YOViGFCU9hme5Lu+Plu0x6JO7vjpX8aoE7Su7ZyWqoZBXT57mv4oHl3Zbw4w0OjEr2xBDEKeyZPHAzlHNdevIaPua7vjZP8So89y3d8bKfjV7YTltSrSEjA0kHbmvLtVGlmz21NhVADuqfbE0ZXVytKnldrodPuS7vjZTyivbE9xXd8dKeUX7YW8pcrjUYksbNar9sUUxZKWllDrdD0nzZxvyuI03J2TQ5fcN3vHyvll96PDZ13fpEv5ZfehTsycsRTixi/aX7Yp7bYbRQITQ9JPpMCG+th2my7vfSmPLK9seGzLv/TGR/wC5CGZ0jOBkdj9gWMo/krSl0n6yh6cQjjnLhTCUF2TdbmmxmeJWFn8H8gSYT8ddl2s9LOBxhxTSxopBp1HYRzHKAGldO/TjbmBdaJ8LXk54eUDmnOg6TTdDpsi1A8gEGEfLW2i0mvdvFpE7KU92ISAEzUorkLcw/OCSQeb/AC0ObnTZYfXLlWJKTVB3tqzQSd9MuqAGREjALiQBUXitANpFSK0UoCoqeLQVmg25CB2ac9zcvbJ2YtQ+0dIqrpJY85iwvqMjzNPedhQitv2aN2nzSDQ7XJuAPnJwk5nMnU7ydTGkxtXGpUAYGMTGRjFUAb5GUKzzDUxptNIx0SawV8H0shxTyV0zCKdq6xjeC7raZoYTlSpHojNtLmVJNqCXmWdy3nA3hJyjhvFNLU6lCM6nZ/OOuz5oNqpUU9ME1kWQhxCyCAtQISTsJ0jXPm08WSZMr+VgOMuleBOIEnccgdM92caTY5DlCKDb0wazd0JZCwriVFQUlOMOpzURXHhJyAI0i1tGyW0DEaE0FdNaaxDRlxFeJalGMJJVRaTDBacScRAgzsZ1TtBirlnArP2aXn6V5IPbBbZrSZehr/YjZVoQmk+ZNLByqwlKnstjmvDJlBCa6xY2Fd4LRmawH3uvTidFNI6bq3lfccwMtOO7whCl4dxOEZDpi3GnBVLPZnLnWm6fw7oKLQuk4qoaWhAArVQJrrkKaaawM2hduYSpHHKQuqsGIVHIVriBA0Oh30hhe5HlpKnmXEISUk8rCcQUKAhKsVOUcqUgdsyWDjimwlSuMJqlaySo1qPCNEjoinXqOFZxjtyLdCjGdBTlo+bKez7pLbUQrQQV2RMtYSk0qnIx1vzuBXFuNqbUdApJGzZsI6I53rAQ2FOjLFmYzhq8p3U42IpwnKLyt2BS9VrtkFKRVSdeaB9q1WeLFfCppGdqT7SVrpQkmCK61321yqXUsNLWsqzdqQnCcsKdKUGtNTG9ScY3k0ZpKekYsGZW0wpfNsiym7bwowgR0XjkEISAWmmnqlQW1UIcTWlAk+CfNlFEyoLBFc9KRmMlOFkjEVaqs70OWaWMQUo8k680eTSGkqTRQwkgmOK05dSGs9p/nFdIMYlVIqIwtTaslGVu8+jbv2k17nQUgEUhScK1opcmU4BSmsW1n2uZWUxeFlv80B84h+fcxJbIHm7YuTTUbPmUYtZtDZdiwHZlRWk5CPb1XbcbTxqvBBCeswyOD+7q5Zii9TrGHCqgCzlU8Y36VRmVOmoX52NFVk5WE01pGcYNaRnFQsEiRIkAFXBfOYLTYQfAfxS7g3oeSUUP+bCeqGc26UTMorapgJVzqaOA+cKhR3GNLTkvvLXrEw2p/wCXlP2nx2TDsYAz238h0RI0NeCOgeiJGQVl9PBV9k96pUVfCB8lan3Fn1s3FrfRJwk0NOJeqdg/JGlTFRwh/I2p9yY9dNRkHzquNRjauNSowDAxiqMjGKoAvLrulPGFOvJ9KolspUpypUanLni04PEJPugq2BHnK43W5ZGJYXXTqhGEnIn40OFka1XM23Pug5MrwlWBCUlS3DngSNTzmCyXn5BjJtUw6rEnlKwpRQKFSEjPSusc9nccxZsw4GyW3W6YwRyUpUUqKknOhrSogYaXUA74p1qs4PLax6zsnsjD4i86ju1ayT6X1+1g1mbEdenUtFtQTUq4xO6lUqTsOVM445yQJQVpmm30pzKalDoA1JbVrTmMc0veNwSimhMuA4qBumXF0zHGajP/AA1pHAJNSCypQGBzTMVpochprGlOagssFoZq9iqUZyrTs1fLbnZN8+/pfZ6s1yDCnVqKRkPTGu12XkiqqhMMKyrDSy0Cka5mKa+UwgMkGmcS1W4VFHKeWo1bRdmLD4PuzUw0y0MS3FBI3AHVR3ACpJ3Ax9I3VsFqz5ZEqwK4flF5YnFnwlq5zsGwADZCmuU6WWlzAoFghDat1KKURv8A8I7YMLtuTLlpEukCXcbUhTIBw1UnFiUCak1BGuQMZddZ3TdtB7PJx4kVpv4B09LBSFJNeWKYsqjaPPA7YFyuIdLq1hajUJoDQV21Oen84IXnEMoAUug0BWaknUVJ1NPRA03eBSi62FKUorKGykpBKs1IS2sA5dKSKVzjVpU5LXw/Pfbl+Nc041JU5W25/j+QrmbGZda4taAQSVDeFkklaTsVU1gLtSzsTRRXTLsgktyfxMkJUps0BDozSCTkF0OLCa0qN8L2XtcP42+NSl5JUHK1NCDoQB4Xmz12xaTV0u8iipqDs7LmuneCK7CRxuAJxqJ0AqYJZSqZcoQ4tGBeDCBooqBJzplRKhlv1jjti2/cFWG0FD1fyriwKlWqSOamY2Culc4HmLTW4sJW4CCKBThVhSakg1GaRXbzxVr1Myydx3MN2W4QdZPltvf/AN5FnaUkh9aCoqK0q4sVFCpazQKoKADI57aRpsu7obVy8q/3nHbOzrbLZbStDrxILi0EKQgDOiXB4S+cZAVoc8uQXldSaqIXXP8AKISrdmCpNdmyGHrqi/iVySXYlXF0uJCSj0fPqdNsXVDrZCR0RQ2JwdTBriyEG1h3ubdJS4lDVE5UJopdcqA12bKj+UXlk28y6FALSgpOEYiAFnPNs/4hlXZqI6Cq0XFNaHAxOAxdGUlKN7Wu1qtdijs+4CEpAcJUBs2dkEMrZTbYolIEWCkZV2bCMx2iNSom31RyndOzNaoDeFX9XK+0b9JgyVAdwqfq5X2jfpMay2NofqQmmtIzjBrSM4rFskSJEgC6uR+spL7yz61MNy0/0mVH15j/AHL0KO5P6ykvvLPrUw27TP51LftzH+6ejAGSz4I6B6IkRnwR0D0RIyDRfEfm7n2Tnq1QO8IfyNqfcmPXTUEV8f0dz7Jz1aoHOET5G1PubHrpqAPndcaVRuXGlUAYGMTF8/YiBJuPAqC2nm2jnUKS6h41pTIgtbNiooTABDdJSqPBGpweYri9bs9555tupOIgZ1Az3xWXEaqmYINCkIp/HBPZE/gViUTUGojEr2JaTV+/oclv2m822uSWRgCdg8IVqBi3AjdGV1JZhTqEzKgEYDqSAVACgURs180X157C92tJeYIxUzBNKjaBzgwFLqkkqypkBtqObpjmzk2otu/ie77Nm6yqxso35xVt73fjoH89cNggqQ8Ek8pKBQ0TWuScRURhyrvzgdk1qXacqwVhTaF4EmlAUUxJqdpzp1QNlsmlNYsrOdKHG1kUUhSTUcxGcZc4vRK19zFbBYh0ZuVRysm1p011XO2nmMu8s+qWGAppXQ7DAS/Je7HEpWqiagH20hkXjk/dDRO7MdcLW0pFTa6JNCInry4NWMZXfczxuBwbq4eU4vVBRJy7KHUMpzal0Fw/WVUBJUNgxGvVF1dS2W3JkAHlHFQbckknzCBSVUhLRUUpCiKqOWInp16o6ODN1D8/iSKcUhRPSoFI9JPVFLC5XVlxN192be23hKEFpt4L8hdbU04rCMgpKq5EpUcqUCXKbzlXYOoWtJlKkJKF8W82caHC4lFKimYSshQNNa9G6GJOslYI1G7WnsgdmZAJUCENkp0qKkdCRHSlBPkQqvNQyJ6AdO33mkNOszaVVwkJWCChdRQELG0eFrWAGWmHFrxs4sQNARWopoAYZlrWaJnEy4aKUrjMtKYimlR059Ijrsi7DUuKJA7Ixh6cailvdO30Tv8AUe2SoyTSW39ibfYc4yiwrEDWh1rrWCN2wnmwhSSlasOMhFVqQBhIx1TSvKA1NSDBdfiyEFpLwTRaDhrvSquR6DSnSd8UEje9xpOEoS6RQJKy4EpCajlJSoBR59+esQ1oqE8rPV4CpVr4ZV6K1bakr9xXzTbylrU+SVoHKxqFaBQFBoFHlDICsbLy2umYLYaSvkpw0UakrJ0SST0R2vX0dUcgRlQgrJb/AMWiSMW3QqPoprulI8ZMJNOS3yyeceCPxUPUY1g8zyLmWqycKTr1IqPDTtbqrevGx1G4jqWwQ43xlM0lJpi2pDlT24YuWbgtLaRiU4lxI5RSuqSo68lYI5qimkXhjrYOUdRYamtbHhK3a2LrwUJz0TvyX2ByWsadlj+QfQ4n5iwpBI3E8pJ66Rby9uJPJmEKlnN55TSj9VYyHRXqjuJjmmmErSpChVKhQj+9sY4GX/5u32IPaXPSqr/czngUoxChB0KSCD1+2FvwiWmtcmpKgaY0+YmkESbJm2ioNvIU1SqEqFDirovmIJzFejbFLwmMUk1H66PSYypScfiVjWUIKaySuhWNaRnGDWkRbgERExnEjUh/MVGW2mtNtIIbwXUXLAOA8YyqlFgUpXNIWNldh0PmgDG5H6ykvvLPrUw150/nMr+1Mf7l6FTcf9ZSX3ln1qYab5/OJTpf/wBy9ADQZ8EdA9ESIz4I6B6IkAaL4/o7v2Tnq1QOcIvyFqfc2PXTUEd8f0d37Jz1aoHeEX5C1PubHrpqAPnVcalRtVGpUAFUz+rZr73L+rm4EFQXzX6tmvvkv6qbgQMZYCm48spSZgpNAkIqN9cfsjrTMYlEE0pl00jhuU8QHwDQEIr1Y42W9KBOaFUrr0mEIuUrS2JY1HSWaG4Qyl58DdG1DXppnRUVtoLK3CqtaknTXPWAySm+LdTi0ChUbwFCsGE5QKO4E9lYoYuEYtZUex/xyq6yqym9rfW54G+enUIsrIkeM4wVFUtlaanMqSUkADadYqZZWLPPo2b4JboWZxz9CDQJJJzyNMs9h17IrU4uU1E9HjZxWDqVNlZhQL6MtsllxRD+EEJwnOqaih0pAJaNpKLuMnXZGF9HngtLOErebWQhQTqyQaBShuVp0mNdl3ImnyC6cCdw17Y6DozrSi3sj5zHE0cNRnCLvKX2OeZtkqUQNDlFxwe3rRZanXZht4h6iUJRgzw5lSsShpkB+0YKrKuOy1QkAkb8zHHf67gXLpW2PkjiUKDNBHKUCRVNNTTUa6CLCwyzZvA5HGWyRZjhvkF+EH2+ZTKVedCjlGocLFmKNC6RzlhVOziznAUjgnmnWeNwoSSMSWyohxQIqNlEqpsJ6aQun04FFJBqDTMUIIyII2EHKN3w27wlf162N7S5oc9rcKckXmkMqcKa/lHwjCAklPISFUOGoBJI0qACTUF6XAQCCCCKgg1BBzBB3R832dJKeVhTQKKVFI3lKSrD0nDQc5EPa5r+KRY24U4K7+KUW6/wxtBKMnZavX5aEFVaGN9HwmUXXaUhP7WIHPmoDC3UmDu+1p4UBlNDizXnoAapHWRXqgUdspxKUrU2oJUKpUUmhFQKg9JHbHMxks1XTkfRP8boSp4JOemZtq/lr9P55lYR/fshh3Vs/ipcEiinOUd9P8A7M+uA5FiuLbW4kUSjXYSMjVIPhAAgmnzhvhjIySBuA9A3RLgYXk5M5/8AlGIcaUaMXo3r5W0+qZkox0sHKOJa6RmzPJw1rHVbS3PBxTex2KMa1KjlmbQCU4tkCnwmVx9FHkmIJV0tEWI0JNXLu2LVLRFM60FN2tTX+9IFuEqdJk6EUqpB7KxZWxayKJpmQoE8wgNv3b5mEUAohJGe8xDGTlG8nr3E/DUWrLzA9s0EdNgWaJiYbaUopSokqUBUhKUlaqA6miTSu2OZsZR02DaQl5hDpTiCScSa0JSpJSoA7DRRplrAyWtmy0hMPNsoRNIU6tLaVqeZWEqWQlKlIDKSoVIqAoZQxLBZS/ItIcFUraCFdmGvmB6hC7s+bkJd5t5Cppa2lpcShSGUJUpBCkhSwtRAqBUgaQw7CeDEi2teSUNBauzFTpqadYgABuWyU2rKJOqZptJ6UugH0QzCqr0kd/HHtmHoWlyXSu1pRR1VNNqPSXQYZI+Vkeh3170ANVnwR0D0RIjPgjoHoiQBovj+jufZuerVA7wi/IWp9zY9dMwRXx/R3Ps1+rVA9wifIWp9zY9dNQB86rjSqNqo1KgC2mLdBlXGAk1deQ6omlEhtDqQkDbUuk15hFIYyMYmACa5EgXi6kGmSf8A50gtnbpYWSFZkDWKHgzQavkbA36XIYkpNY1BK9DHMni3TxHDe2lvM9JhMFTrYWM7a63+bFLaN3AlNRHbaTakNoxaqbSrqUkEdcOaTuuzQ1ANYX/CbYyZdWJBohSdNyhlRPNF7EUnkUn3kXZ2Np0K1WKdoyX1Xpg5YhK8SQCTXIU1yEFdhXnMg28C2VOKKMCdATiwkHdkrWBG7Lxam2xj+UQQa7FKTUeeL+8rBWynixRxDqOUQQSTXLoqIqU2qVdO+m/9l7E9qrEYGVFx01W+t90/DYKrNtxqYeONGF3KqTqmume2CB18IG6B6x7MIIdWPyigMR6BSLG028aNdY6ccTTqXdN3PEUI8aWWGtjGQtsOOFI2GOu0XkYFJX4KgQegihjisqyENpxp1Ov/AOxutFhDlEq27OmI44qErrZ7FinhKlSq4QWxeydppcaS5UZ9Weh88IDhUsri59xxNOLfJcRTqC67jjxf2YbV67IeZQiWYSeUoJBBAFCqqlKOyKG811kvsMpVmWVDM15STk4DTPOgPUIqUZZXLNpa9upbxVWEYwTauxO2bMLQ6hbfyiVBSaAmpSagUGZ0htXIt5SJUNOpKFNqIAII5CzjTrnliI6o3m7TLbam0pCRSpIFCRzkR3WddVlhhBTkMs1HWpJzJypmcoyu0Ixtdb6IixGGyOMb3cnp68zokrviYWZh5xSRQcWlJFU00WSQQN4Tz1yjmatVKVzCJh7GlCkqNQMTwp+TLh1WARQI0rmdkdFt2zxDJWpaSCaIAIII6hmeisKRy01Ozdc+WcO2mennoeqI03KTaPQ0cTJONKb00iulrbO2nphDaN5Hpl7i21YMyhG0qQaVDm8U3aUO8wcys+EoAOwADqFIG7IsMS4UvwnqcpRpkQM0I+anzmLSwUVSXHNKdQrnFvC0qtSfw7d5w+0sdTlHLbRPTrf1/dzrbm1PkpQNI1Ku46Ea0zHZWN1lT6eNcU2MiYtXrYIFKV3x5zF4zE0MU4Q+JHSp4HNh1OK5XAu9N4S0EMJBxEQIWhaJbUCvqpzxf3qnUKXxtM06VigmmRMIDh13R6WnNVIKc1Z9xyeHKLyxOX33U6TTSOeaWVS7hNclpFesxY2dKZqoKbI7LZlkN2etIHKxoz3ipjaOV6GJRklmYHNaRHG6xGtIzgRmpDGYqcttNac0EFv3qcmQEAcWymmFANa0ySVnaRu0EUkSAL64H60kvvLX+sQzVCj0j+y7692FpwffrSS+8N/6xDOmRSZk/wBl317sANBnwR0D0RIjPgjoHoiQBovj+jufZr9WqB/hFH5C0/uTPrpqCC+X6O59mv8A0Kii4RR+b2l9ya8z0zAHzguNRjauNSoAwMYmMjGJgAu4P57iuPJNAeLB6yukHsxaiFIGHJULO7dPc83Xc36XIpWLfeQQQ4TTYcxHNxOBdSXEi7N/wd/s7tSlRgqdWL02a6959C3anSpJxqFRAnwozSFKQ2oFQpiBB3kilOqFrNX2mFCiVcXvwk5x0WbbbjyFJdVjKTUEiqqHKld1fTFuMpxwyjU/UhSWHrdot07ZZJ8ra2Cy7djILhmiiqQnkIOeaBnn1RZSlplxxAUylKFqyNFHlAVFCTE4PJwvHiKgBulQaZhecV9pOGWmFhxRPEqI6k1AoNg0yinXUmnpurFrCUaVSGMpNapNrws0Hk/PpQ1XmgXdmHFpNF5RXWtedpxk0VoIBXL3uYCgZV2xV7PoSpqyjZX1PLdiulTjVdXSVvh8RnyForSjNVQDQxYiZS4pCgoZHPPdCesq8bgBQo1Bgjund6efq42qjedMVc+iOyqLrOUHHTkXcHiuBWz96sxv3in8L9cSKJBJ5XKGWJIw0qK5bY4ZSZC0ZiNPCIh1Ejx5QMbbLQVQglJUtsOUJz2ntgHY4T0MtoAbxqJAVnSg2nnPNFHG0Ks3HIlp97/g4eKpznP4VdFvfG0gyc65JqE6A1HJJO7mHPHFM2st4Nox4AlIIzoCtSU0BVs11OQzgzTMs2m2yhoocJQM8NeLoOXjBFUUOVDSuzWAS8diqlZniX3EpCuVxlapKCTmAc65EU39sRQo5oppXd/rs/rzPbdkVqF+JXaThHS/fbV+S5dehzzay4yQ4CC2vUZBWRBqNCoUpXWhz0Ect1GGxOY1UKW0FdTv0HnIjovZeBhaUsy55KR4ROprUlR2k5k9MDtlzvFOqKvAUnCroJBNN5yyi5w3SqXeu38FTEYt4xOMPhTv5X5hc/bgLuGtEKOe6Le8Fpoblk8WRsr0bYB7VUkNocSQUrChTalSSMjvyIIPTujKz5Ja0flFZbBzR1KWIjCLV9HszkvsyvUqcNQcpR3t90MSy35dLAONIUeffHFbN5mWBkoKJ3UMLe3kFS0MtnXPsjmnbJWyipUDv3xzq2DoSxirRn5W0udKjPGww04yp6R0b7i/tR9EysJGmp3dEapZ4cpCRyUfyyyi1s0shlvCK5Cppu9MWd1rvpemFhNMOpy2mLSs58NO5FLBV40FinGy/g9mLNZYkQpRAWqh561jkv7Z6RZaXEDLGjPmNYu7e4NCtXGKfJSmlEbIx4TRhsgoCaBK2u2qhF6dK0W0uRyM09EJdrSM4wa0jOOeSEiRIkAEPB2P+qyX3hHphnzv6VJ/suetdhY8HI/6rJfbo9MM+eH51J/sK9Y4YAZrPgjoHoiRGvBHQPREgDTe9NZdz7Nfq1RRcISqy1oc8ig9Qdf9sFdtS2Nsp2KBSehQKf5wHWh+ccUyrIzkg8yPt2sBwnrUv8JgD51XGlUb3myklKhRQJBB1BBoQeuNCoAxjExlGJgC8u+Ky80BuR/9kDZl1fNPYYO+DVrEXxQHJGvS5BsJBHi0+aOfXx6pTyW2K062WTVhGcSdx7IvLmymKbbStt1baqhwNpJXgoakCmw0MNf3tT4tHYIzVK0QtKAEcYnApSRRWAkEpB2VpQ81RES7RhLSSsvXQ3pYx05qaWwFy06w1ajbkuHEMcjECrErkVCsVN5oaQVX7t5E5LrShLaGXlAId4ol5x1NCoDTdhNaZVjdLWWE1JCVEnXCE0AAAGUV8zdXGVAuu8UpZUpoKGDlAUAyqnQ1oc67ILtCnez5bMn9vXEnJK2ZW3b8/HxFC6wRpUgioNCB/daxr4o7j2Q8pWxmm0hCW0gDTKvPmT0xt9wI8UnsEY96R/1KntHchJ2dJLWtKUpJKiAMjmSaCPpm7divMSiQ22CUpGRVgx6YsFQdlaFVKmmgzgRVZqVjCkBtRFEqAzSo+CrLZWleasXPw5nFSgmC2w3WtGFLWHHKEA4FkZKUUqwihBxCucdDCY+Mot25+vmSU5yndrQF7/LnBxpK3HpaZSW0IIw+5VN0cKHUgUBFPCrmNuVIVqmTmKUOng6Z9GsMmznzPiYemHXSJkisu2vChKGlUaSoqyxhSBs0xak5XZaQSTgRmanIbTWK2JxdLD1XCKuvwJ1XFK+4tLgXqMjOtqVyUcYA4c/AUMLgoNUkUNDoUgiMr4Xhcnppx4hQTUhpPzWweSOk6nnMX9v3eSiYbdYQtbilBwjAFsZBQIrTkrTQVSa1qCKwUFpsaoAO5QAUOYg7RGJdoQjBSSumKryWfeJ1TZ3GN8lIlw4TUZVBocobZDfzUdgjku9Y7L7k0DLFa+OAQ6plx5hCcA5CkNuIKDU1xZ5RPhcRHFNxWllf6maGJy1E7eV9+gupGReQotlsuN1oaZgaGv1emCy3rLbly2kTLeF0Ym1KVhNBQELqKJIOWtDBBO3Yl22yUNMuziWXFBlJXxDgRNOJcdRysThQhIo3UZZ5mB280vKNy7bjDZK52jqQupEs0k4VtNmvKJdCuUf8IHTF6ODUnq/p+TqQ7Yr0bqCVtVrvZ9dHpy8SonrCLD7SirEpYJ6tlOaKu3HFFzCfBABp6YbtlWIhyTSpLCUrDayp15twoURiOJDyXAEZCgBTqI65yzrPExxC0tpJcaCQhLqVJBAUsPOKOAg1pydKxSzfFmSR1XTkqMsNnk3dttK+2mvxee4JLu2gSCXUrzAByOoi24NZQJU6oqIGQqeYGLeXsZqgVMy7TDgD54sYygtNtpUhxTYUSaKqKgivZGtcnLomQ2JdpSVSynSujnFqWltSwWOWeQcga7QdIlhVyVFNL18jbLnwzw825PdStyXJfFZ7cgUvBaxNpMMMPrW2VjGK1FQa0i14Vx/0xzP/ANRr0qiys6yW35UOIlm2llC1KW404WjSpBadDnIAAoAoHMbdoDfKYJs8AqURiRkeuJZdoL9Ml+rY4uLwyw6/Vd3ta1u/q+4XrWkZxg1pGcalMkSJEgAl4NE1taS+2B7AowzZw1mpSnzFf61iATgflK2kl5Xycq24+s7BRBSnzq80H1gsl6Ylz82XSo9LpxjzDzwAymk8kdA9ESOxEtkOiJAHQ+3iSRC1v3JONoS40aLYe49o7lKycR0KNFU21UIZ0cFp2Wl1JCgCCKEHQg7DACUvNcwWqgz9ngccf0qWqAoO0zU3XI11pt1GdRCun5FxlRQ6hbahqlaSk9igId8zc+bkXy/IrrXwm1mhUmtcOI8lfXQ+eLIcIywMM5IuCm9orT1EAiAPnPGN47Y8KhvHbH0YL82af+0R1y6e7Hqr5Wb9Eb8gnuwAk7m3iZlS6XSrlhNMIB8EqrXMb4J08JEp/wCX8H/KGF8MbN+hs/u47kefC2zfobP7sO5FSrgoVZZpXuQypRk7sABwkyn/AJfwDvR78ZUn/wCX8A70MAXpsz6Gz+7J7keG9dlfRJf92T3Ii93UuvryMcCAAfGVJ7nfwDvR78ZUnud/AO9B78KrJ+iS/wC7J7ke/CiyPost+7p7kPd1Lr68hwIAF8ZUlud/AO9Hnxlye5zyae9B4q9NkfRZb93T/TjE3osj6LKfu6f6cPd1Lr68hwIgKeEiS+a75NPejEcIshTwHOji00zNTli3wcm9Nk/RZP8Adx/TjMXmsf6NJ+QT/TjPu6mub+f4M8GIBI4QbPHgoWOhlA9CoyHCNI/Nc8mO9B8LxWN4iS8gnuRn7/2L4mS8ijuQ930+vzMcCIAjhLktzvkx3o8+MmR3O+THeg/9/rE8TI+RR3I9FuWJ4mQ8k33Ie76fX5jgRAA8Jclud8mnvRxPXysxaipTSypWZPF5k8/Lhme/dieKkPJN92ILasPxUh5JvuxvDBRg7xlJeDHAiLD4V2V4hXkx5uXGIvTZXiVeT/5w0xa1h+KkPJN92Mhadh+KkPJN92JOA/8Aef7mZ4ERZfDmzvmL8mO/HhvxZ/zF+THfhoGfsPxUh5JvuRj76WF4qR8ijuRF7FDvfzLPFq/9Jfuf9iw+HFn/ADHPJjvxDfmQ+Yv8H/KGh752F4qR8gjuR4bUsPxUl5BPch7FDvfzHEq/9Jfuf9ivN97P+Y5+D/lFVeq9ss/LFpoLriSRVIAomu2phye+9h+Jk/3cf04x9+LD8RKfuw/pxtHCQi1LXTqaSc52zybt3ts+bmjlGVY+jvfuw/o8r+6juRibfsMf9tL9UqjuxbB851iysO7sxOOBEsyt1R2pHJTzqX4KR0mHTaF8bMR+jyEuVfOUw2kdQAqe0RTTt7rQmxxLADbZywtJCEgf5antIEAV01JIkJf3tYcSuZmCDOvpzQ2hGfEoOpSnMk7TXaaBpXJsPDVwpoVUoDqlCUhKE9SUjrrAzcbgvLa+OfOJeoGwUNQTvNc6aDI5mhDVlpcIFBAG2kSPYkASJEiQBrcZCtRHI5ZKToSOgx3xIAG566PGGvGug/VdWnU12GNMvc5SFVD755i6sjrBMFUSAKdNhmnyiu2NC7tqJJ41wV3OLA6hXKL+JAA+m7qwflnOtZPpMdSLFVtcV2xbRIAqzY5+ertjlcu8s6OufjV7YvokADvwcX453yivbHW3Yyhq4vti3iQBWe9B8Yrtjz3nPz1dsWkSAKv3mPz1dsT3m+urti0iQBVe8n1jHhsEfOMW0SAKn3gHzj2x57wJ3nti3iQBUfB8fOMeG7w3mLiJAFN8HU74nwcTvi5iQBS/BtO8xPg2neYuokAD05cxl1OFxIWkGtFZiu+kcQ4NJPxLf4RBdEgARPBpJ+Jb/CI1HgqkTrLt/hgziQALSvBzJt+Cw0P8ifZF1LWK2jwUgdVI74kAYpQBpGUSJAEiRIkAf//Z"/>
          <p:cNvSpPr>
            <a:spLocks noChangeAspect="1" noChangeArrowheads="1"/>
          </p:cNvSpPr>
          <p:nvPr/>
        </p:nvSpPr>
        <p:spPr bwMode="auto">
          <a:xfrm>
            <a:off x="155575" y="-792163"/>
            <a:ext cx="27622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/>
          </a:p>
        </p:txBody>
      </p:sp>
      <p:pic>
        <p:nvPicPr>
          <p:cNvPr id="33824" name="Picture 3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1575" y="3289300"/>
            <a:ext cx="865188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  <p:pic>
        <p:nvPicPr>
          <p:cNvPr id="44" name="Picture 3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2393950"/>
            <a:ext cx="865188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  <p:sp>
        <p:nvSpPr>
          <p:cNvPr id="5" name="Cloud 4"/>
          <p:cNvSpPr/>
          <p:nvPr/>
        </p:nvSpPr>
        <p:spPr>
          <a:xfrm>
            <a:off x="4688735" y="2306150"/>
            <a:ext cx="2001783" cy="1488604"/>
          </a:xfrm>
          <a:prstGeom prst="cloud">
            <a:avLst/>
          </a:prstGeom>
          <a:noFill/>
          <a:ln>
            <a:solidFill>
              <a:srgbClr val="0070C0">
                <a:alpha val="58000"/>
              </a:srgbClr>
            </a:solidFill>
          </a:ln>
          <a:effectLst>
            <a:glow rad="63500">
              <a:schemeClr val="accent1">
                <a:satMod val="175000"/>
                <a:alpha val="18000"/>
              </a:schemeClr>
            </a:glow>
            <a:outerShdw blurRad="50800" dist="38100" dir="5400000" algn="t" rotWithShape="0">
              <a:prstClr val="black">
                <a:alpha val="40000"/>
              </a:prstClr>
            </a:out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33826" name="Picture 3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100" y="2241550"/>
            <a:ext cx="1085850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  <p:pic>
        <p:nvPicPr>
          <p:cNvPr id="33829" name="Picture 3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1750" y="2500313"/>
            <a:ext cx="1063625" cy="103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  <p:pic>
        <p:nvPicPr>
          <p:cNvPr id="33830" name="Picture 3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5413" y="2881313"/>
            <a:ext cx="563562" cy="34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  <p:pic>
        <p:nvPicPr>
          <p:cNvPr id="33832" name="Picture 4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150" y="2171700"/>
            <a:ext cx="558800" cy="744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  <p:pic>
        <p:nvPicPr>
          <p:cNvPr id="56" name="Picture 4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8150" y="3149600"/>
            <a:ext cx="558800" cy="744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5238" y="2752725"/>
            <a:ext cx="190500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6088" y="2619375"/>
            <a:ext cx="309562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1363" y="2960688"/>
            <a:ext cx="484187" cy="32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100" y="3149600"/>
            <a:ext cx="458788" cy="344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836" name="Picture 4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4513263"/>
            <a:ext cx="8702675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1F6160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356100" y="4456113"/>
            <a:ext cx="962025" cy="49212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GB" sz="3200" dirty="0">
                <a:solidFill>
                  <a:srgbClr val="169685"/>
                </a:solidFill>
                <a:latin typeface="+mj-lt"/>
              </a:rPr>
              <a:t>?????</a:t>
            </a:r>
          </a:p>
        </p:txBody>
      </p:sp>
    </p:spTree>
    <p:extLst>
      <p:ext uri="{BB962C8B-B14F-4D97-AF65-F5344CB8AC3E}">
        <p14:creationId xmlns:p14="http://schemas.microsoft.com/office/powerpoint/2010/main" val="72363204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8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8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38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38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 nodeType="clickPar">
                      <p:stCondLst>
                        <p:cond delay="indefinite"/>
                      </p:stCondLst>
                      <p:childTnLst>
                        <p:par>
                          <p:cTn id="5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38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38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8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38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285750" y="428625"/>
            <a:ext cx="8501063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Current and future technologies</a:t>
            </a:r>
            <a: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/>
            </a:r>
            <a:b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GB" sz="2400" dirty="0">
                <a:solidFill>
                  <a:schemeClr val="tx2"/>
                </a:solidFill>
                <a:latin typeface="Rubrik Light" pitchFamily="50" charset="0"/>
                <a:ea typeface="+mj-ea"/>
                <a:cs typeface="+mj-cs"/>
              </a:rPr>
              <a:t>Analysis of current and future Mobile Video technology</a:t>
            </a: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357188" y="1538288"/>
            <a:ext cx="7929562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GB" sz="1200" b="1" dirty="0">
                <a:latin typeface="+mn-lt"/>
              </a:rPr>
              <a:t>There is currently a technology disjoint in the end to end mobile video chain. Without increased communication and knowledge share between the parties technology advances cannot be fully exploited</a:t>
            </a:r>
            <a:endParaRPr lang="en-GB" sz="1200" b="1" dirty="0">
              <a:latin typeface="Rubrik Regular" pitchFamily="2" charset="0"/>
            </a:endParaRPr>
          </a:p>
        </p:txBody>
      </p:sp>
      <p:sp>
        <p:nvSpPr>
          <p:cNvPr id="7" name="TextBox 3"/>
          <p:cNvSpPr txBox="1">
            <a:spLocks noChangeArrowheads="1"/>
          </p:cNvSpPr>
          <p:nvPr/>
        </p:nvSpPr>
        <p:spPr bwMode="auto">
          <a:xfrm>
            <a:off x="476103" y="2144713"/>
            <a:ext cx="3714750" cy="2970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 Content caching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Device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Core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Edge</a:t>
            </a:r>
          </a:p>
          <a:p>
            <a:pPr>
              <a:defRPr/>
            </a:pPr>
            <a:endParaRPr lang="en-GB" sz="11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 </a:t>
            </a:r>
            <a:r>
              <a:rPr lang="en-GB" sz="1100" b="1" dirty="0" smtClean="0">
                <a:latin typeface="+mn-lt"/>
              </a:rPr>
              <a:t> Video </a:t>
            </a:r>
            <a:r>
              <a:rPr lang="en-GB" sz="1100" b="1" dirty="0">
                <a:latin typeface="+mn-lt"/>
              </a:rPr>
              <a:t>codec evolution</a:t>
            </a:r>
          </a:p>
          <a:p>
            <a:pPr>
              <a:defRPr/>
            </a:pPr>
            <a:endParaRPr lang="en-GB" sz="11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 </a:t>
            </a:r>
            <a:r>
              <a:rPr lang="en-GB" sz="1100" b="1" dirty="0" smtClean="0">
                <a:latin typeface="+mn-lt"/>
              </a:rPr>
              <a:t> Adaptive </a:t>
            </a:r>
            <a:r>
              <a:rPr lang="en-GB" sz="1100" b="1" dirty="0">
                <a:latin typeface="+mn-lt"/>
              </a:rPr>
              <a:t>Bit Rate</a:t>
            </a:r>
          </a:p>
          <a:p>
            <a:pPr>
              <a:buFont typeface="Arial" pitchFamily="34" charset="0"/>
              <a:buChar char="•"/>
              <a:defRPr/>
            </a:pPr>
            <a:endParaRPr lang="en-GB" sz="11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 </a:t>
            </a:r>
            <a:r>
              <a:rPr lang="en-GB" sz="1100" b="1" dirty="0" smtClean="0">
                <a:latin typeface="+mn-lt"/>
              </a:rPr>
              <a:t> Multimedia </a:t>
            </a:r>
            <a:r>
              <a:rPr lang="en-GB" sz="1100" b="1" dirty="0">
                <a:latin typeface="+mn-lt"/>
              </a:rPr>
              <a:t>broadcast technology</a:t>
            </a:r>
          </a:p>
          <a:p>
            <a:pPr>
              <a:buFont typeface="Arial" pitchFamily="34" charset="0"/>
              <a:buChar char="•"/>
              <a:defRPr/>
            </a:pPr>
            <a:endParaRPr lang="en-GB" sz="11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  Video optimisation </a:t>
            </a:r>
            <a:r>
              <a:rPr lang="en-GB" sz="1100" b="1" dirty="0" smtClean="0">
                <a:latin typeface="+mn-lt"/>
              </a:rPr>
              <a:t>platforms</a:t>
            </a:r>
          </a:p>
          <a:p>
            <a:pPr>
              <a:buFont typeface="Arial" pitchFamily="34" charset="0"/>
              <a:buChar char="•"/>
              <a:defRPr/>
            </a:pPr>
            <a:endParaRPr lang="en-GB" sz="11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100" b="1" dirty="0" smtClean="0">
                <a:latin typeface="+mn-lt"/>
              </a:rPr>
              <a:t>   Content </a:t>
            </a:r>
            <a:r>
              <a:rPr lang="en-GB" sz="1100" b="1" dirty="0">
                <a:latin typeface="+mn-lt"/>
              </a:rPr>
              <a:t>Delivery Network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Self build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Pure play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GB" sz="1100" b="1" dirty="0">
                <a:latin typeface="+mn-lt"/>
              </a:rPr>
              <a:t> Federations</a:t>
            </a:r>
            <a:r>
              <a:rPr lang="en-GB" sz="1100" dirty="0">
                <a:solidFill>
                  <a:srgbClr val="FF0000"/>
                </a:solidFill>
                <a:latin typeface="Helvetica 55 Roman" pitchFamily="34" charset="0"/>
              </a:rPr>
              <a:t>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AA85F7-9A5B-49A8-9FF1-40D553C1E0E3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pic>
        <p:nvPicPr>
          <p:cNvPr id="29702" name="Picture 8" descr="http://4.bp.blogspot.com/_-PWNCIORmt8/TPXyf-iIOtI/AAAAAAAAAQc/RIeZsN3hubU/s1600/tv+mobile+phone.jpg"/>
          <p:cNvPicPr>
            <a:picLocks noChangeAspect="1" noChangeArrowheads="1"/>
          </p:cNvPicPr>
          <p:nvPr/>
        </p:nvPicPr>
        <p:blipFill>
          <a:blip r:embed="rId3">
            <a:lum contras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38" y="2214563"/>
            <a:ext cx="4500562" cy="217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7"/>
          <p:cNvSpPr>
            <a:spLocks noChangeArrowheads="1"/>
          </p:cNvSpPr>
          <p:nvPr/>
        </p:nvSpPr>
        <p:spPr bwMode="auto">
          <a:xfrm>
            <a:off x="3643313" y="4684713"/>
            <a:ext cx="442912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GB" sz="1100" b="1" dirty="0">
                <a:latin typeface="+mn-lt"/>
              </a:rPr>
              <a:t>There is no ‘Silver Bullet’ as an operator we will need to a have a constantly evolving ‘tool kit’ of technologies</a:t>
            </a:r>
            <a:endParaRPr lang="en-GB" sz="1100" b="1" dirty="0">
              <a:latin typeface="Rubrik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7038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AutoShape 14" descr="https://www.linx.net/images/linx-logos/linx-logo2.jpg"/>
          <p:cNvSpPr>
            <a:spLocks noChangeAspect="1" noChangeArrowheads="1"/>
          </p:cNvSpPr>
          <p:nvPr/>
        </p:nvSpPr>
        <p:spPr bwMode="auto">
          <a:xfrm>
            <a:off x="155575" y="-228600"/>
            <a:ext cx="1695450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>
              <a:latin typeface="Rubrik Regular" pitchFamily="2" charset="0"/>
            </a:endParaRPr>
          </a:p>
        </p:txBody>
      </p:sp>
      <p:sp>
        <p:nvSpPr>
          <p:cNvPr id="74" name="Title 1"/>
          <p:cNvSpPr txBox="1">
            <a:spLocks/>
          </p:cNvSpPr>
          <p:nvPr/>
        </p:nvSpPr>
        <p:spPr>
          <a:xfrm>
            <a:off x="357188" y="465138"/>
            <a:ext cx="8072437" cy="677862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here now?</a:t>
            </a:r>
            <a: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/>
            </a:r>
            <a:b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GB" sz="2400" dirty="0" smtClean="0">
                <a:solidFill>
                  <a:schemeClr val="tx2"/>
                </a:solidFill>
                <a:latin typeface="Rubrik Light" pitchFamily="50" charset="0"/>
                <a:ea typeface="+mj-ea"/>
                <a:cs typeface="+mj-cs"/>
              </a:rPr>
              <a:t>2014 </a:t>
            </a:r>
            <a:r>
              <a:rPr lang="en-GB" sz="2400" dirty="0">
                <a:solidFill>
                  <a:schemeClr val="tx2"/>
                </a:solidFill>
                <a:latin typeface="Rubrik Light" pitchFamily="50" charset="0"/>
                <a:ea typeface="+mj-ea"/>
                <a:cs typeface="+mj-cs"/>
              </a:rPr>
              <a:t>– When mobile video becomes an ecosystem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7188" y="1561356"/>
            <a:ext cx="8463283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en-GB" sz="1600" b="1" dirty="0">
                <a:latin typeface="+mn-lt"/>
              </a:rPr>
              <a:t>I</a:t>
            </a:r>
            <a:r>
              <a:rPr lang="en-GB" sz="1600" b="1" dirty="0" smtClean="0">
                <a:latin typeface="+mn-lt"/>
              </a:rPr>
              <a:t>ndustry </a:t>
            </a:r>
            <a:r>
              <a:rPr lang="en-GB" sz="1600" b="1" dirty="0">
                <a:latin typeface="+mn-lt"/>
              </a:rPr>
              <a:t>discussion and knowledge share is </a:t>
            </a:r>
            <a:r>
              <a:rPr lang="en-GB" sz="1600" b="1" dirty="0" smtClean="0">
                <a:latin typeface="+mn-lt"/>
              </a:rPr>
              <a:t>key to a </a:t>
            </a:r>
            <a:r>
              <a:rPr lang="en-GB" sz="1600" b="1" dirty="0">
                <a:latin typeface="+mn-lt"/>
              </a:rPr>
              <a:t>successful mobile video industry  </a:t>
            </a:r>
          </a:p>
          <a:p>
            <a:pPr>
              <a:defRPr/>
            </a:pPr>
            <a:endParaRPr lang="en-GB" sz="1600" b="1" dirty="0">
              <a:latin typeface="+mn-lt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5D56354-BCDF-42E8-8D9B-45AAE7E4411A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pic>
        <p:nvPicPr>
          <p:cNvPr id="34822" name="Picture 11" descr="http://cdn.directv.com/cms2/what_is_directv/mobile_apps/md__DIRECTV_Phone_Ap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7057" y="2576794"/>
            <a:ext cx="2422568" cy="2357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428623" y="2104315"/>
            <a:ext cx="8391848" cy="298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GB" sz="1400" dirty="0" smtClean="0">
                <a:latin typeface="+mn-lt"/>
              </a:rPr>
              <a:t>Ensuring Users </a:t>
            </a:r>
            <a:r>
              <a:rPr lang="en-GB" sz="1400" dirty="0" err="1" smtClean="0">
                <a:latin typeface="+mn-lt"/>
              </a:rPr>
              <a:t>QoE</a:t>
            </a:r>
            <a:r>
              <a:rPr lang="en-GB" sz="1400" dirty="0" smtClean="0">
                <a:latin typeface="+mn-lt"/>
              </a:rPr>
              <a:t> is not impacted by the ‘</a:t>
            </a:r>
            <a:r>
              <a:rPr lang="en-GB" sz="1400" dirty="0">
                <a:latin typeface="+mn-lt"/>
              </a:rPr>
              <a:t>Mobile Video </a:t>
            </a:r>
            <a:r>
              <a:rPr lang="en-GB" sz="1400" dirty="0" smtClean="0">
                <a:latin typeface="+mn-lt"/>
              </a:rPr>
              <a:t>Tsunami’ can </a:t>
            </a:r>
            <a:r>
              <a:rPr lang="en-GB" sz="1400" dirty="0">
                <a:latin typeface="+mn-lt"/>
              </a:rPr>
              <a:t>no longer be seen </a:t>
            </a:r>
            <a:r>
              <a:rPr lang="en-GB" sz="1400" dirty="0" smtClean="0">
                <a:latin typeface="+mn-lt"/>
              </a:rPr>
              <a:t>as something </a:t>
            </a:r>
            <a:r>
              <a:rPr lang="en-GB" sz="1400" dirty="0">
                <a:latin typeface="+mn-lt"/>
              </a:rPr>
              <a:t>for </a:t>
            </a:r>
            <a:r>
              <a:rPr lang="en-GB" sz="1400" dirty="0" smtClean="0">
                <a:latin typeface="+mn-lt"/>
              </a:rPr>
              <a:t>operators </a:t>
            </a:r>
            <a:r>
              <a:rPr lang="en-GB" sz="1400" dirty="0">
                <a:latin typeface="+mn-lt"/>
              </a:rPr>
              <a:t>to sort </a:t>
            </a:r>
            <a:r>
              <a:rPr lang="en-GB" sz="1400" dirty="0" smtClean="0">
                <a:latin typeface="+mn-lt"/>
              </a:rPr>
              <a:t>out alone</a:t>
            </a:r>
            <a:endParaRPr lang="en-GB" sz="1400" dirty="0">
              <a:latin typeface="+mn-lt"/>
            </a:endParaRPr>
          </a:p>
          <a:p>
            <a:pPr>
              <a:defRPr/>
            </a:pPr>
            <a:endParaRPr lang="en-GB" sz="1400" dirty="0">
              <a:latin typeface="+mn-lt"/>
            </a:endParaRPr>
          </a:p>
          <a:p>
            <a:pPr>
              <a:defRPr/>
            </a:pPr>
            <a:r>
              <a:rPr lang="en-GB" sz="1400" dirty="0">
                <a:latin typeface="+mn-lt"/>
              </a:rPr>
              <a:t> </a:t>
            </a:r>
            <a:r>
              <a:rPr lang="en-GB" sz="1400" dirty="0" smtClean="0">
                <a:latin typeface="+mn-lt"/>
              </a:rPr>
              <a:t>Any party working </a:t>
            </a:r>
            <a:r>
              <a:rPr lang="en-GB" sz="1400" dirty="0">
                <a:latin typeface="+mn-lt"/>
              </a:rPr>
              <a:t>in isolation </a:t>
            </a:r>
            <a:r>
              <a:rPr lang="en-GB" sz="1400" dirty="0" smtClean="0">
                <a:latin typeface="+mn-lt"/>
              </a:rPr>
              <a:t>may negatively impact the customer experience </a:t>
            </a:r>
          </a:p>
          <a:p>
            <a:pPr>
              <a:defRPr/>
            </a:pPr>
            <a:r>
              <a:rPr lang="en-GB" sz="1400" dirty="0">
                <a:latin typeface="+mn-lt"/>
              </a:rPr>
              <a:t> </a:t>
            </a:r>
            <a:r>
              <a:rPr lang="en-GB" sz="1400" dirty="0" smtClean="0">
                <a:latin typeface="+mn-lt"/>
              </a:rPr>
              <a:t>and </a:t>
            </a:r>
            <a:r>
              <a:rPr lang="en-GB" sz="1400" dirty="0">
                <a:latin typeface="+mn-lt"/>
              </a:rPr>
              <a:t>cost to serve</a:t>
            </a:r>
          </a:p>
          <a:p>
            <a:pPr>
              <a:defRPr/>
            </a:pPr>
            <a:endParaRPr lang="en-GB" sz="1400" dirty="0">
              <a:latin typeface="+mn-lt"/>
            </a:endParaRPr>
          </a:p>
          <a:p>
            <a:pPr>
              <a:defRPr/>
            </a:pPr>
            <a:r>
              <a:rPr lang="en-GB" sz="1400" dirty="0">
                <a:latin typeface="+mn-lt"/>
              </a:rPr>
              <a:t> An end to end understanding of mobile video technologies </a:t>
            </a:r>
            <a:endParaRPr lang="en-GB" sz="1400" dirty="0" smtClean="0">
              <a:latin typeface="+mn-lt"/>
            </a:endParaRPr>
          </a:p>
          <a:p>
            <a:pPr>
              <a:defRPr/>
            </a:pPr>
            <a:r>
              <a:rPr lang="en-GB" sz="1400" dirty="0" smtClean="0">
                <a:latin typeface="+mn-lt"/>
              </a:rPr>
              <a:t> will  lead </a:t>
            </a:r>
            <a:r>
              <a:rPr lang="en-GB" sz="1400" dirty="0">
                <a:latin typeface="+mn-lt"/>
              </a:rPr>
              <a:t>to greater innovation from all parties</a:t>
            </a:r>
          </a:p>
          <a:p>
            <a:pPr>
              <a:defRPr/>
            </a:pPr>
            <a:endParaRPr lang="en-GB" sz="1400" dirty="0">
              <a:latin typeface="+mn-lt"/>
            </a:endParaRPr>
          </a:p>
          <a:p>
            <a:pPr>
              <a:defRPr/>
            </a:pPr>
            <a:r>
              <a:rPr lang="en-GB" sz="1400" dirty="0">
                <a:latin typeface="+mn-lt"/>
              </a:rPr>
              <a:t> Use the combined weight of the whole industry to back </a:t>
            </a:r>
            <a:endParaRPr lang="en-GB" sz="1400" dirty="0" smtClean="0">
              <a:latin typeface="+mn-lt"/>
            </a:endParaRPr>
          </a:p>
          <a:p>
            <a:pPr>
              <a:defRPr/>
            </a:pPr>
            <a:r>
              <a:rPr lang="en-GB" sz="1400" dirty="0">
                <a:latin typeface="+mn-lt"/>
              </a:rPr>
              <a:t> </a:t>
            </a:r>
            <a:r>
              <a:rPr lang="en-GB" sz="1400" dirty="0" smtClean="0">
                <a:latin typeface="+mn-lt"/>
              </a:rPr>
              <a:t>mutually beneficial </a:t>
            </a:r>
            <a:r>
              <a:rPr lang="en-GB" sz="1400" dirty="0">
                <a:latin typeface="+mn-lt"/>
              </a:rPr>
              <a:t>technology e.g. MPEG-DASH  </a:t>
            </a:r>
          </a:p>
          <a:p>
            <a:pPr>
              <a:defRPr/>
            </a:pPr>
            <a:endParaRPr lang="en-GB" sz="1400" dirty="0">
              <a:latin typeface="+mn-lt"/>
            </a:endParaRPr>
          </a:p>
          <a:p>
            <a:pPr>
              <a:defRPr/>
            </a:pPr>
            <a:r>
              <a:rPr lang="en-GB" sz="1400" dirty="0" smtClean="0">
                <a:latin typeface="+mn-lt"/>
              </a:rPr>
              <a:t> </a:t>
            </a:r>
            <a:r>
              <a:rPr lang="en-GB" sz="2000" dirty="0">
                <a:solidFill>
                  <a:srgbClr val="169685"/>
                </a:solidFill>
                <a:latin typeface="+mn-lt"/>
              </a:rPr>
              <a:t>Globally congested mobile networks do not benefit anyone</a:t>
            </a:r>
          </a:p>
        </p:txBody>
      </p:sp>
    </p:spTree>
    <p:extLst>
      <p:ext uri="{BB962C8B-B14F-4D97-AF65-F5344CB8AC3E}">
        <p14:creationId xmlns:p14="http://schemas.microsoft.com/office/powerpoint/2010/main" val="18662094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3568" y="2785492"/>
            <a:ext cx="7240587" cy="720197"/>
          </a:xfrm>
        </p:spPr>
        <p:txBody>
          <a:bodyPr rtlCol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500" dirty="0" smtClean="0"/>
              <a:t>Thank you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Straight Connector 66"/>
          <p:cNvCxnSpPr/>
          <p:nvPr>
            <p:custDataLst>
              <p:tags r:id="rId1"/>
            </p:custDataLst>
          </p:nvPr>
        </p:nvCxnSpPr>
        <p:spPr>
          <a:xfrm flipH="1" flipV="1">
            <a:off x="20007" y="2221496"/>
            <a:ext cx="6592887" cy="11906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2"/>
            </p:custDataLst>
          </p:nvPr>
        </p:nvCxnSpPr>
        <p:spPr>
          <a:xfrm flipH="1" flipV="1">
            <a:off x="27625" y="2446286"/>
            <a:ext cx="6592887" cy="11906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3"/>
            </p:custDataLst>
          </p:nvPr>
        </p:nvCxnSpPr>
        <p:spPr>
          <a:xfrm flipH="1" flipV="1">
            <a:off x="0" y="1680211"/>
            <a:ext cx="7178040" cy="11431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4"/>
            </p:custDataLst>
          </p:nvPr>
        </p:nvCxnSpPr>
        <p:spPr>
          <a:xfrm flipH="1">
            <a:off x="-3175" y="4685136"/>
            <a:ext cx="5557838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5"/>
            </p:custDataLst>
          </p:nvPr>
        </p:nvCxnSpPr>
        <p:spPr>
          <a:xfrm flipH="1">
            <a:off x="36517" y="4375573"/>
            <a:ext cx="55578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6"/>
            </p:custDataLst>
          </p:nvPr>
        </p:nvCxnSpPr>
        <p:spPr>
          <a:xfrm flipH="1">
            <a:off x="26992" y="3769413"/>
            <a:ext cx="5557837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7"/>
            </p:custDataLst>
          </p:nvPr>
        </p:nvCxnSpPr>
        <p:spPr>
          <a:xfrm flipH="1">
            <a:off x="15875" y="3292793"/>
            <a:ext cx="5557838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8"/>
            </p:custDataLst>
          </p:nvPr>
        </p:nvCxnSpPr>
        <p:spPr>
          <a:xfrm flipH="1">
            <a:off x="-7938" y="3014610"/>
            <a:ext cx="5557838" cy="0"/>
          </a:xfrm>
          <a:prstGeom prst="line">
            <a:avLst/>
          </a:prstGeom>
          <a:ln w="63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9465" name="Picture 38" descr="htc desire a.jpeg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6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9718" y="2459359"/>
            <a:ext cx="825182" cy="765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6" name="Picture 26" descr="samsung galaxy tab a.jp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661" y="1654175"/>
            <a:ext cx="425302" cy="712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79" name="Title 1"/>
          <p:cNvSpPr>
            <a:spLocks noGrp="1"/>
          </p:cNvSpPr>
          <p:nvPr>
            <p:ph type="ctrTitle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GB" altLang="en-US" sz="3200" dirty="0"/>
              <a:t>Mobile Network Capabilities</a:t>
            </a:r>
            <a:endParaRPr lang="en-GB" sz="3000" dirty="0" smtClean="0">
              <a:ea typeface="ＭＳ Ｐゴシック" pitchFamily="34" charset="-128"/>
            </a:endParaRPr>
          </a:p>
        </p:txBody>
      </p:sp>
      <p:sp>
        <p:nvSpPr>
          <p:cNvPr id="7" name="Subtitle 2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-131431" y="4484273"/>
            <a:ext cx="1066800" cy="575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 50 kbps</a:t>
            </a:r>
            <a:endParaRPr lang="en-GB" sz="11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9470" name="Picture 9" descr="nokia 6110 c.jpeg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6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7092" y="3780264"/>
            <a:ext cx="645795" cy="870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1" name="Picture 11" descr="blackberry 6230.jpeg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6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0125" y="3736447"/>
            <a:ext cx="647377" cy="643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ubtitle 2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576077" y="4942419"/>
            <a:ext cx="1311275" cy="342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700" b="1" dirty="0">
                <a:solidFill>
                  <a:srgbClr val="666666">
                    <a:lumMod val="50000"/>
                  </a:srgbClr>
                </a:solidFill>
                <a:ea typeface="ＭＳ Ｐゴシック" charset="-128"/>
                <a:cs typeface="ＭＳ Ｐゴシック" charset="-128"/>
              </a:rPr>
              <a:t>2.5G/Edge</a:t>
            </a:r>
          </a:p>
        </p:txBody>
      </p:sp>
      <p:sp>
        <p:nvSpPr>
          <p:cNvPr id="16" name="Subtitle 2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-259681" y="4321525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endParaRPr lang="en-GB" sz="12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pic>
        <p:nvPicPr>
          <p:cNvPr id="19474" name="Picture 20" descr="iphone 3gs a.jpeg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6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920" y="2454064"/>
            <a:ext cx="541020" cy="805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5" name="Picture 21" descr="sony ericsson w890.jpeg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6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5115" y="2846018"/>
            <a:ext cx="665163" cy="910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76" name="Picture 23" descr="ipad 2 d.png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9391" y="1374313"/>
            <a:ext cx="748347" cy="80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Up Arrow 32"/>
          <p:cNvSpPr/>
          <p:nvPr>
            <p:custDataLst>
              <p:tags r:id="rId20"/>
            </p:custDataLst>
          </p:nvPr>
        </p:nvSpPr>
        <p:spPr>
          <a:xfrm>
            <a:off x="8204200" y="1756835"/>
            <a:ext cx="914400" cy="3217334"/>
          </a:xfrm>
          <a:prstGeom prst="upArrow">
            <a:avLst/>
          </a:prstGeom>
          <a:solidFill>
            <a:srgbClr val="1696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 defTabSz="457200">
              <a:defRPr/>
            </a:pPr>
            <a:r>
              <a:rPr lang="en-GB" sz="2800" dirty="0">
                <a:solidFill>
                  <a:schemeClr val="bg1"/>
                </a:solidFill>
                <a:latin typeface="+mj-lt"/>
              </a:rPr>
              <a:t>Interactivity</a:t>
            </a:r>
          </a:p>
        </p:txBody>
      </p:sp>
      <p:sp>
        <p:nvSpPr>
          <p:cNvPr id="34" name="Up Arrow 33"/>
          <p:cNvSpPr/>
          <p:nvPr>
            <p:custDataLst>
              <p:tags r:id="rId21"/>
            </p:custDataLst>
          </p:nvPr>
        </p:nvSpPr>
        <p:spPr>
          <a:xfrm>
            <a:off x="698938" y="817771"/>
            <a:ext cx="914400" cy="4156399"/>
          </a:xfrm>
          <a:prstGeom prst="upArrow">
            <a:avLst/>
          </a:prstGeom>
          <a:solidFill>
            <a:srgbClr val="1696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 defTabSz="457200">
              <a:defRPr/>
            </a:pPr>
            <a:r>
              <a:rPr lang="en-GB" sz="2800" dirty="0" smtClean="0">
                <a:solidFill>
                  <a:schemeClr val="bg1"/>
                </a:solidFill>
                <a:latin typeface="+mj-lt"/>
              </a:rPr>
              <a:t>speeds</a:t>
            </a:r>
            <a:endParaRPr lang="en-GB" sz="2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Rectangle 26"/>
          <p:cNvSpPr/>
          <p:nvPr>
            <p:custDataLst>
              <p:tags r:id="rId22"/>
            </p:custDataLst>
          </p:nvPr>
        </p:nvSpPr>
        <p:spPr>
          <a:xfrm>
            <a:off x="1625605" y="4685136"/>
            <a:ext cx="4467225" cy="2619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457200">
              <a:defRPr/>
            </a:pPr>
            <a:r>
              <a:rPr lang="en-GB" sz="1600" dirty="0" smtClean="0">
                <a:solidFill>
                  <a:schemeClr val="tx1">
                    <a:lumMod val="50000"/>
                  </a:schemeClr>
                </a:solidFill>
              </a:rPr>
              <a:t>Voice, Text</a:t>
            </a:r>
            <a:endParaRPr lang="en-GB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8" name="Right Arrow 27"/>
          <p:cNvSpPr/>
          <p:nvPr>
            <p:custDataLst>
              <p:tags r:id="rId23"/>
            </p:custDataLst>
          </p:nvPr>
        </p:nvSpPr>
        <p:spPr>
          <a:xfrm>
            <a:off x="1066804" y="5122334"/>
            <a:ext cx="7756525" cy="613833"/>
          </a:xfrm>
          <a:prstGeom prst="rightArrow">
            <a:avLst/>
          </a:prstGeom>
          <a:solidFill>
            <a:srgbClr val="16968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GB" sz="2800" dirty="0">
                <a:solidFill>
                  <a:schemeClr val="bg1"/>
                </a:solidFill>
                <a:latin typeface="+mj-lt"/>
              </a:rPr>
              <a:t>Data Capacity</a:t>
            </a:r>
          </a:p>
        </p:txBody>
      </p:sp>
      <p:sp>
        <p:nvSpPr>
          <p:cNvPr id="29" name="Rectangle 28"/>
          <p:cNvSpPr/>
          <p:nvPr>
            <p:custDataLst>
              <p:tags r:id="rId24"/>
            </p:custDataLst>
          </p:nvPr>
        </p:nvSpPr>
        <p:spPr>
          <a:xfrm>
            <a:off x="2208213" y="4378222"/>
            <a:ext cx="3656012" cy="30691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457200">
              <a:defRPr/>
            </a:pPr>
            <a:r>
              <a:rPr lang="en-GB" sz="1600" dirty="0">
                <a:solidFill>
                  <a:srgbClr val="808080">
                    <a:lumMod val="50000"/>
                  </a:srgbClr>
                </a:solidFill>
              </a:rPr>
              <a:t>Email</a:t>
            </a:r>
          </a:p>
        </p:txBody>
      </p:sp>
      <p:sp>
        <p:nvSpPr>
          <p:cNvPr id="30" name="Rectangle 29"/>
          <p:cNvSpPr/>
          <p:nvPr>
            <p:custDataLst>
              <p:tags r:id="rId25"/>
            </p:custDataLst>
          </p:nvPr>
        </p:nvSpPr>
        <p:spPr>
          <a:xfrm>
            <a:off x="2816543" y="4075272"/>
            <a:ext cx="2659062" cy="30691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457200">
              <a:defRPr/>
            </a:pPr>
            <a:r>
              <a:rPr lang="en-GB" sz="1600" dirty="0">
                <a:solidFill>
                  <a:srgbClr val="808080">
                    <a:lumMod val="50000"/>
                  </a:srgbClr>
                </a:solidFill>
              </a:rPr>
              <a:t>MMS</a:t>
            </a:r>
          </a:p>
        </p:txBody>
      </p:sp>
      <p:sp>
        <p:nvSpPr>
          <p:cNvPr id="31" name="Rectangle 30"/>
          <p:cNvSpPr/>
          <p:nvPr>
            <p:custDataLst>
              <p:tags r:id="rId26"/>
            </p:custDataLst>
          </p:nvPr>
        </p:nvSpPr>
        <p:spPr>
          <a:xfrm>
            <a:off x="2827972" y="3771900"/>
            <a:ext cx="5527357" cy="30337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457200">
              <a:defRPr/>
            </a:pPr>
            <a:r>
              <a:rPr lang="en-GB" sz="1600" dirty="0" smtClean="0">
                <a:solidFill>
                  <a:srgbClr val="808080">
                    <a:lumMod val="50000"/>
                  </a:srgbClr>
                </a:solidFill>
              </a:rPr>
              <a:t>Music, Web </a:t>
            </a:r>
            <a:r>
              <a:rPr lang="en-GB" sz="1600" dirty="0">
                <a:solidFill>
                  <a:srgbClr val="808080">
                    <a:lumMod val="50000"/>
                  </a:srgbClr>
                </a:solidFill>
              </a:rPr>
              <a:t>browsing</a:t>
            </a:r>
          </a:p>
        </p:txBody>
      </p:sp>
      <p:sp>
        <p:nvSpPr>
          <p:cNvPr id="35" name="Rectangle 34"/>
          <p:cNvSpPr/>
          <p:nvPr>
            <p:custDataLst>
              <p:tags r:id="rId27"/>
            </p:custDataLst>
          </p:nvPr>
        </p:nvSpPr>
        <p:spPr>
          <a:xfrm>
            <a:off x="5474970" y="4052414"/>
            <a:ext cx="2868930" cy="89677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GB" sz="1600" dirty="0">
                <a:solidFill>
                  <a:srgbClr val="808080">
                    <a:lumMod val="50000"/>
                  </a:srgbClr>
                </a:solidFill>
              </a:rPr>
              <a:t>Rich Messaging &amp;  Communication</a:t>
            </a:r>
          </a:p>
          <a:p>
            <a:pPr algn="ctr" defTabSz="457200">
              <a:defRPr/>
            </a:pPr>
            <a:endParaRPr lang="en-GB" sz="1600" dirty="0">
              <a:solidFill>
                <a:srgbClr val="808080">
                  <a:lumMod val="50000"/>
                </a:srgbClr>
              </a:solidFill>
            </a:endParaRPr>
          </a:p>
        </p:txBody>
      </p:sp>
      <p:sp>
        <p:nvSpPr>
          <p:cNvPr id="36" name="Subtitle 2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2846077" y="4910670"/>
            <a:ext cx="665163" cy="363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700" b="1" dirty="0">
                <a:solidFill>
                  <a:srgbClr val="666666">
                    <a:lumMod val="50000"/>
                  </a:srgbClr>
                </a:solidFill>
                <a:ea typeface="ＭＳ Ｐゴシック" charset="-128"/>
                <a:cs typeface="ＭＳ Ｐゴシック" charset="-128"/>
              </a:rPr>
              <a:t>3G</a:t>
            </a:r>
          </a:p>
        </p:txBody>
      </p:sp>
      <p:sp>
        <p:nvSpPr>
          <p:cNvPr id="37" name="Subtitle 2"/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4601528" y="4942420"/>
            <a:ext cx="1522412" cy="3320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700" b="1" dirty="0" smtClean="0">
                <a:solidFill>
                  <a:srgbClr val="666666">
                    <a:lumMod val="50000"/>
                  </a:srgbClr>
                </a:solidFill>
                <a:ea typeface="ＭＳ Ｐゴシック" charset="-128"/>
                <a:cs typeface="ＭＳ Ｐゴシック" charset="-128"/>
              </a:rPr>
              <a:t>HSPA</a:t>
            </a:r>
            <a:r>
              <a:rPr lang="en-GB" sz="1700" b="1" dirty="0">
                <a:solidFill>
                  <a:srgbClr val="666666">
                    <a:lumMod val="50000"/>
                  </a:srgbClr>
                </a:solidFill>
                <a:ea typeface="ＭＳ Ｐゴシック" charset="-128"/>
                <a:cs typeface="ＭＳ Ｐゴシック" charset="-128"/>
              </a:rPr>
              <a:t>+</a:t>
            </a:r>
          </a:p>
        </p:txBody>
      </p:sp>
      <p:sp>
        <p:nvSpPr>
          <p:cNvPr id="38" name="Rectangle 37"/>
          <p:cNvSpPr/>
          <p:nvPr>
            <p:custDataLst>
              <p:tags r:id="rId30"/>
            </p:custDataLst>
          </p:nvPr>
        </p:nvSpPr>
        <p:spPr>
          <a:xfrm>
            <a:off x="3539174" y="3303270"/>
            <a:ext cx="4816157" cy="47143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457200">
              <a:defRPr/>
            </a:pPr>
            <a:r>
              <a:rPr lang="en-GB" sz="1600" dirty="0" smtClean="0">
                <a:solidFill>
                  <a:schemeClr val="tx1">
                    <a:lumMod val="50000"/>
                  </a:schemeClr>
                </a:solidFill>
              </a:rPr>
              <a:t>Apps, Downloading</a:t>
            </a:r>
            <a:endParaRPr lang="en-GB" sz="1600" dirty="0">
              <a:solidFill>
                <a:schemeClr val="tx1">
                  <a:lumMod val="50000"/>
                </a:schemeClr>
              </a:solidFill>
            </a:endParaRPr>
          </a:p>
          <a:p>
            <a:pPr algn="l" defTabSz="457200">
              <a:defRPr/>
            </a:pPr>
            <a:r>
              <a:rPr lang="en-GB" sz="1600" dirty="0">
                <a:solidFill>
                  <a:schemeClr val="tx1">
                    <a:lumMod val="50000"/>
                  </a:schemeClr>
                </a:solidFill>
              </a:rPr>
              <a:t>Video </a:t>
            </a:r>
            <a:r>
              <a:rPr lang="en-GB" sz="1600" dirty="0" smtClean="0">
                <a:solidFill>
                  <a:schemeClr val="tx1">
                    <a:lumMod val="50000"/>
                  </a:schemeClr>
                </a:solidFill>
              </a:rPr>
              <a:t>Streaming</a:t>
            </a:r>
            <a:endParaRPr lang="en-GB" sz="16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2" name="Subtitle 2"/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5741677" y="4942419"/>
            <a:ext cx="1436365" cy="342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700" b="1" dirty="0">
                <a:solidFill>
                  <a:srgbClr val="666666">
                    <a:lumMod val="50000"/>
                  </a:srgbClr>
                </a:solidFill>
                <a:ea typeface="ＭＳ Ｐゴシック" charset="-128"/>
                <a:cs typeface="ＭＳ Ｐゴシック" charset="-128"/>
              </a:rPr>
              <a:t>4G/LTE</a:t>
            </a:r>
          </a:p>
        </p:txBody>
      </p:sp>
      <p:sp>
        <p:nvSpPr>
          <p:cNvPr id="43" name="Subtitle 2"/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3475990" y="4910670"/>
            <a:ext cx="1377950" cy="363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700" b="1" dirty="0">
                <a:solidFill>
                  <a:srgbClr val="666666">
                    <a:lumMod val="50000"/>
                  </a:srgbClr>
                </a:solidFill>
                <a:ea typeface="ＭＳ Ｐゴシック" charset="-128"/>
                <a:cs typeface="ＭＳ Ｐゴシック" charset="-128"/>
              </a:rPr>
              <a:t>HSPA</a:t>
            </a:r>
          </a:p>
        </p:txBody>
      </p:sp>
      <p:sp>
        <p:nvSpPr>
          <p:cNvPr id="44" name="Rectangle 43"/>
          <p:cNvSpPr/>
          <p:nvPr>
            <p:custDataLst>
              <p:tags r:id="rId33"/>
            </p:custDataLst>
          </p:nvPr>
        </p:nvSpPr>
        <p:spPr>
          <a:xfrm>
            <a:off x="4955546" y="3017521"/>
            <a:ext cx="3399785" cy="28574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457200">
              <a:defRPr/>
            </a:pPr>
            <a:r>
              <a:rPr lang="en-GB" sz="1600" dirty="0">
                <a:solidFill>
                  <a:schemeClr val="tx1">
                    <a:lumMod val="50000"/>
                  </a:schemeClr>
                </a:solidFill>
              </a:rPr>
              <a:t>HD Video Streaming</a:t>
            </a:r>
          </a:p>
        </p:txBody>
      </p:sp>
      <p:pic>
        <p:nvPicPr>
          <p:cNvPr id="19493" name="Picture 44" descr="Sam_Galaxy_SII_FRONT_detail_oop_f3760076.png"/>
          <p:cNvPicPr>
            <a:picLocks noChangeAspect="1"/>
          </p:cNvPicPr>
          <p:nvPr>
            <p:custDataLst>
              <p:tags r:id="rId34"/>
            </p:custDataLst>
          </p:nvPr>
        </p:nvPicPr>
        <p:blipFill>
          <a:blip r:embed="rId6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3633" y="2205037"/>
            <a:ext cx="468498" cy="747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Subtitle 2"/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-259681" y="4169052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100 kbps</a:t>
            </a:r>
          </a:p>
        </p:txBody>
      </p:sp>
      <p:sp>
        <p:nvSpPr>
          <p:cNvPr id="56" name="Subtitle 2"/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-259681" y="3562810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240 kbps</a:t>
            </a:r>
            <a:endParaRPr lang="en-GB" sz="11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58" name="Subtitle 2"/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-259681" y="3052765"/>
            <a:ext cx="1217613" cy="289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0.7 </a:t>
            </a:r>
            <a:r>
              <a:rPr lang="en-GB" sz="1100" b="1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Mbps</a:t>
            </a:r>
          </a:p>
        </p:txBody>
      </p:sp>
      <p:sp>
        <p:nvSpPr>
          <p:cNvPr id="60" name="Subtitle 2"/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-259681" y="2799536"/>
            <a:ext cx="1217613" cy="237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4-6 </a:t>
            </a:r>
            <a:r>
              <a:rPr lang="en-GB" sz="1100" b="1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Mbps</a:t>
            </a:r>
          </a:p>
        </p:txBody>
      </p:sp>
      <p:sp>
        <p:nvSpPr>
          <p:cNvPr id="61" name="Subtitle 2"/>
          <p:cNvSpPr txBox="1">
            <a:spLocks/>
          </p:cNvSpPr>
          <p:nvPr>
            <p:custDataLst>
              <p:tags r:id="rId39"/>
            </p:custDataLst>
          </p:nvPr>
        </p:nvSpPr>
        <p:spPr bwMode="auto">
          <a:xfrm>
            <a:off x="-259681" y="2224090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8-12 </a:t>
            </a:r>
            <a:r>
              <a:rPr lang="en-GB" sz="1100" b="1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Mbps</a:t>
            </a:r>
          </a:p>
        </p:txBody>
      </p:sp>
      <p:sp>
        <p:nvSpPr>
          <p:cNvPr id="45" name="Subtitle 2"/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6979927" y="4946229"/>
            <a:ext cx="1436365" cy="342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700" b="1" dirty="0" smtClean="0">
                <a:solidFill>
                  <a:srgbClr val="666666">
                    <a:lumMod val="50000"/>
                  </a:srgbClr>
                </a:solidFill>
                <a:ea typeface="ＭＳ Ｐゴシック" charset="-128"/>
                <a:cs typeface="ＭＳ Ｐゴシック" charset="-128"/>
              </a:rPr>
              <a:t>4G+/LTE-A</a:t>
            </a:r>
            <a:endParaRPr lang="en-GB" sz="1700" b="1" dirty="0">
              <a:solidFill>
                <a:srgbClr val="666666">
                  <a:lumMod val="50000"/>
                </a:srgbClr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48" name="Rectangle 47"/>
          <p:cNvSpPr/>
          <p:nvPr>
            <p:custDataLst>
              <p:tags r:id="rId41"/>
            </p:custDataLst>
          </p:nvPr>
        </p:nvSpPr>
        <p:spPr>
          <a:xfrm>
            <a:off x="7086600" y="1692384"/>
            <a:ext cx="1238250" cy="55932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457200">
              <a:defRPr/>
            </a:pPr>
            <a:r>
              <a:rPr lang="en-GB" sz="1500" dirty="0" smtClean="0">
                <a:solidFill>
                  <a:schemeClr val="bg1"/>
                </a:solidFill>
              </a:rPr>
              <a:t>4K Video &amp; Multi-task</a:t>
            </a:r>
            <a:endParaRPr lang="en-GB" sz="1500" dirty="0">
              <a:solidFill>
                <a:schemeClr val="bg1"/>
              </a:solidFill>
            </a:endParaRPr>
          </a:p>
        </p:txBody>
      </p:sp>
      <p:sp>
        <p:nvSpPr>
          <p:cNvPr id="64" name="Subtitle 2"/>
          <p:cNvSpPr txBox="1">
            <a:spLocks/>
          </p:cNvSpPr>
          <p:nvPr>
            <p:custDataLst>
              <p:tags r:id="rId42"/>
            </p:custDataLst>
          </p:nvPr>
        </p:nvSpPr>
        <p:spPr bwMode="auto">
          <a:xfrm>
            <a:off x="-293922" y="1242738"/>
            <a:ext cx="1251854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Min Speed?</a:t>
            </a:r>
          </a:p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30-50 Mbps</a:t>
            </a:r>
          </a:p>
        </p:txBody>
      </p:sp>
      <p:sp>
        <p:nvSpPr>
          <p:cNvPr id="65" name="Subtitle 2"/>
          <p:cNvSpPr txBox="1">
            <a:spLocks/>
          </p:cNvSpPr>
          <p:nvPr>
            <p:custDataLst>
              <p:tags r:id="rId43"/>
            </p:custDataLst>
          </p:nvPr>
        </p:nvSpPr>
        <p:spPr bwMode="auto">
          <a:xfrm>
            <a:off x="-259681" y="2008554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16-24 </a:t>
            </a:r>
            <a:r>
              <a:rPr lang="en-GB" sz="1100" b="1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Mbps</a:t>
            </a:r>
          </a:p>
        </p:txBody>
      </p:sp>
      <p:sp>
        <p:nvSpPr>
          <p:cNvPr id="66" name="Rectangle 65"/>
          <p:cNvSpPr/>
          <p:nvPr>
            <p:custDataLst>
              <p:tags r:id="rId44"/>
            </p:custDataLst>
          </p:nvPr>
        </p:nvSpPr>
        <p:spPr>
          <a:xfrm>
            <a:off x="6366510" y="2232660"/>
            <a:ext cx="1969770" cy="58002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41" name="Rectangle 40"/>
          <p:cNvSpPr/>
          <p:nvPr>
            <p:custDataLst>
              <p:tags r:id="rId45"/>
            </p:custDataLst>
          </p:nvPr>
        </p:nvSpPr>
        <p:spPr>
          <a:xfrm>
            <a:off x="5886457" y="2446020"/>
            <a:ext cx="2457445" cy="58002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defTabSz="457200">
              <a:defRPr/>
            </a:pPr>
            <a:r>
              <a:rPr lang="en-GB" sz="1600" dirty="0" smtClean="0">
                <a:solidFill>
                  <a:schemeClr val="bg1"/>
                </a:solidFill>
              </a:rPr>
              <a:t>Gaming / Cloud</a:t>
            </a:r>
            <a:endParaRPr lang="en-GB" sz="1600" dirty="0">
              <a:solidFill>
                <a:schemeClr val="bg1"/>
              </a:solidFill>
            </a:endParaRPr>
          </a:p>
          <a:p>
            <a:pPr algn="l" defTabSz="457200">
              <a:defRPr/>
            </a:pPr>
            <a:r>
              <a:rPr lang="en-GB" sz="1600" dirty="0">
                <a:solidFill>
                  <a:schemeClr val="bg1"/>
                </a:solidFill>
              </a:rPr>
              <a:t>Video Conf</a:t>
            </a:r>
          </a:p>
        </p:txBody>
      </p:sp>
      <p:pic>
        <p:nvPicPr>
          <p:cNvPr id="5175" name="Picture 55"/>
          <p:cNvPicPr>
            <a:picLocks noChangeAspect="1" noChangeArrowheads="1"/>
          </p:cNvPicPr>
          <p:nvPr>
            <p:custDataLst>
              <p:tags r:id="rId46"/>
            </p:custDataLst>
          </p:nvPr>
        </p:nvPicPr>
        <p:blipFill>
          <a:blip r:embed="rId68" cstate="print"/>
          <a:srcRect/>
          <a:stretch>
            <a:fillRect/>
          </a:stretch>
        </p:blipFill>
        <p:spPr bwMode="auto">
          <a:xfrm>
            <a:off x="7077853" y="707573"/>
            <a:ext cx="1203448" cy="10144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7" name="Subtitle 2"/>
          <p:cNvSpPr txBox="1">
            <a:spLocks/>
          </p:cNvSpPr>
          <p:nvPr>
            <p:custDataLst>
              <p:tags r:id="rId47"/>
            </p:custDataLst>
          </p:nvPr>
        </p:nvSpPr>
        <p:spPr bwMode="auto">
          <a:xfrm>
            <a:off x="1328881" y="4484269"/>
            <a:ext cx="1066800" cy="575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100 kbps</a:t>
            </a:r>
            <a:endParaRPr lang="en-GB" sz="11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59" name="Subtitle 2"/>
          <p:cNvSpPr txBox="1">
            <a:spLocks/>
          </p:cNvSpPr>
          <p:nvPr>
            <p:custDataLst>
              <p:tags r:id="rId48"/>
            </p:custDataLst>
          </p:nvPr>
        </p:nvSpPr>
        <p:spPr bwMode="auto">
          <a:xfrm>
            <a:off x="1328883" y="4299749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endParaRPr lang="en-GB" sz="12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2" name="Subtitle 2"/>
          <p:cNvSpPr txBox="1">
            <a:spLocks/>
          </p:cNvSpPr>
          <p:nvPr>
            <p:custDataLst>
              <p:tags r:id="rId49"/>
            </p:custDataLst>
          </p:nvPr>
        </p:nvSpPr>
        <p:spPr bwMode="auto">
          <a:xfrm>
            <a:off x="1307111" y="4179934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 250 kbps</a:t>
            </a:r>
            <a:endParaRPr lang="en-GB" sz="11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3" name="Subtitle 2"/>
          <p:cNvSpPr txBox="1">
            <a:spLocks/>
          </p:cNvSpPr>
          <p:nvPr>
            <p:custDataLst>
              <p:tags r:id="rId50"/>
            </p:custDataLst>
          </p:nvPr>
        </p:nvSpPr>
        <p:spPr bwMode="auto">
          <a:xfrm>
            <a:off x="1350655" y="3562806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340 kbps</a:t>
            </a:r>
            <a:endParaRPr lang="en-GB" sz="11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68" name="Subtitle 2"/>
          <p:cNvSpPr txBox="1">
            <a:spLocks/>
          </p:cNvSpPr>
          <p:nvPr>
            <p:custDataLst>
              <p:tags r:id="rId51"/>
            </p:custDataLst>
          </p:nvPr>
        </p:nvSpPr>
        <p:spPr bwMode="auto">
          <a:xfrm>
            <a:off x="1328883" y="3085419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1.8 </a:t>
            </a:r>
            <a:r>
              <a:rPr lang="en-GB" sz="1100" b="1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Mbps</a:t>
            </a:r>
          </a:p>
        </p:txBody>
      </p:sp>
      <p:sp>
        <p:nvSpPr>
          <p:cNvPr id="69" name="Subtitle 2"/>
          <p:cNvSpPr txBox="1">
            <a:spLocks/>
          </p:cNvSpPr>
          <p:nvPr>
            <p:custDataLst>
              <p:tags r:id="rId52"/>
            </p:custDataLst>
          </p:nvPr>
        </p:nvSpPr>
        <p:spPr bwMode="auto">
          <a:xfrm>
            <a:off x="1328883" y="2810417"/>
            <a:ext cx="1217613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21 </a:t>
            </a:r>
            <a:r>
              <a:rPr lang="en-GB" sz="1100" b="1" dirty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Mbps</a:t>
            </a:r>
          </a:p>
        </p:txBody>
      </p:sp>
      <p:sp>
        <p:nvSpPr>
          <p:cNvPr id="70" name="Subtitle 2"/>
          <p:cNvSpPr txBox="1">
            <a:spLocks/>
          </p:cNvSpPr>
          <p:nvPr>
            <p:custDataLst>
              <p:tags r:id="rId53"/>
            </p:custDataLst>
          </p:nvPr>
        </p:nvSpPr>
        <p:spPr bwMode="auto">
          <a:xfrm>
            <a:off x="1328881" y="2234972"/>
            <a:ext cx="1751776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73 Mbps</a:t>
            </a:r>
            <a:endParaRPr lang="en-GB" sz="11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1" name="Subtitle 2"/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1328881" y="1460455"/>
            <a:ext cx="4941290" cy="259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300  (Cat6) -&gt; 1000 Mbps </a:t>
            </a:r>
            <a:endParaRPr lang="en-GB" sz="11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2" name="Subtitle 2"/>
          <p:cNvSpPr txBox="1">
            <a:spLocks/>
          </p:cNvSpPr>
          <p:nvPr>
            <p:custDataLst>
              <p:tags r:id="rId55"/>
            </p:custDataLst>
          </p:nvPr>
        </p:nvSpPr>
        <p:spPr bwMode="auto">
          <a:xfrm>
            <a:off x="1328881" y="1997664"/>
            <a:ext cx="2045690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l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1100" b="1" dirty="0" smtClean="0">
                <a:solidFill>
                  <a:schemeClr val="bg1"/>
                </a:solidFill>
                <a:ea typeface="ＭＳ Ｐゴシック" charset="-128"/>
                <a:cs typeface="ＭＳ Ｐゴシック" charset="-128"/>
              </a:rPr>
              <a:t>100- 150 Mbps (Cat 3/4)</a:t>
            </a:r>
            <a:endParaRPr lang="en-GB" sz="1100" b="1" dirty="0">
              <a:solidFill>
                <a:schemeClr val="bg1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4" name="Subtitle 2"/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-357658" y="745812"/>
            <a:ext cx="1337367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2000" b="1" u="sng" dirty="0" smtClean="0">
                <a:solidFill>
                  <a:srgbClr val="EEF2ED"/>
                </a:solidFill>
                <a:ea typeface="ＭＳ Ｐゴシック" charset="-128"/>
                <a:cs typeface="ＭＳ Ｐゴシック" charset="-128"/>
              </a:rPr>
              <a:t>Typical </a:t>
            </a:r>
            <a:endParaRPr lang="en-GB" sz="2000" b="1" u="sng" dirty="0">
              <a:solidFill>
                <a:srgbClr val="EEF2ED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75" name="Subtitle 2"/>
          <p:cNvSpPr txBox="1">
            <a:spLocks/>
          </p:cNvSpPr>
          <p:nvPr>
            <p:custDataLst>
              <p:tags r:id="rId57"/>
            </p:custDataLst>
          </p:nvPr>
        </p:nvSpPr>
        <p:spPr bwMode="auto">
          <a:xfrm>
            <a:off x="1035709" y="745810"/>
            <a:ext cx="1337367" cy="4471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457200" eaLnBrk="0" hangingPunct="0">
              <a:spcBef>
                <a:spcPct val="20000"/>
              </a:spcBef>
              <a:buFont typeface="Wingdings" charset="2"/>
              <a:buNone/>
              <a:defRPr/>
            </a:pPr>
            <a:r>
              <a:rPr lang="en-GB" sz="2000" b="1" u="sng" dirty="0" smtClean="0">
                <a:solidFill>
                  <a:srgbClr val="EEF2ED"/>
                </a:solidFill>
                <a:ea typeface="ＭＳ Ｐゴシック" charset="-128"/>
                <a:cs typeface="ＭＳ Ｐゴシック" charset="-128"/>
              </a:rPr>
              <a:t>Peak</a:t>
            </a:r>
            <a:endParaRPr lang="en-GB" sz="2000" b="1" u="sng" dirty="0">
              <a:solidFill>
                <a:srgbClr val="EEF2ED"/>
              </a:solidFill>
              <a:ea typeface="ＭＳ Ｐゴシック" charset="-128"/>
              <a:cs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2126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sz="2800" dirty="0" smtClean="0"/>
              <a:t>LTE - UK is becoming a global leader</a:t>
            </a:r>
          </a:p>
        </p:txBody>
      </p:sp>
      <p:sp>
        <p:nvSpPr>
          <p:cNvPr id="106499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Font typeface="Arial" charset="0"/>
              <a:buNone/>
            </a:pPr>
            <a:r>
              <a:rPr lang="en-GB" altLang="en-US" dirty="0" smtClean="0">
                <a:solidFill>
                  <a:srgbClr val="9F9FA1"/>
                </a:solidFill>
              </a:rPr>
              <a:t>LTE</a:t>
            </a:r>
            <a:endParaRPr lang="en-GB" altLang="en-US" dirty="0">
              <a:solidFill>
                <a:srgbClr val="9F9FA1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GB" altLang="en-US" dirty="0" smtClean="0"/>
              <a:t>October 2012		First LTE live in UK</a:t>
            </a:r>
          </a:p>
          <a:p>
            <a:pPr marL="0" indent="0">
              <a:buFont typeface="Arial" charset="0"/>
              <a:buNone/>
            </a:pPr>
            <a:r>
              <a:rPr lang="en-GB" altLang="en-US" dirty="0" smtClean="0"/>
              <a:t>December 2013	over two-thirds of population coverage</a:t>
            </a:r>
          </a:p>
          <a:p>
            <a:pPr marL="0" indent="0">
              <a:buFont typeface="Arial" charset="0"/>
              <a:buNone/>
            </a:pPr>
            <a:r>
              <a:rPr lang="en-GB" altLang="en-US" dirty="0" smtClean="0"/>
              <a:t>…</a:t>
            </a:r>
            <a:endParaRPr lang="en-GB" altLang="en-US" dirty="0"/>
          </a:p>
          <a:p>
            <a:pPr marL="0" indent="0">
              <a:buFont typeface="Arial" charset="0"/>
              <a:buNone/>
            </a:pPr>
            <a:r>
              <a:rPr lang="en-GB" altLang="en-US" dirty="0" smtClean="0"/>
              <a:t>December 2014?	98% population coverage</a:t>
            </a:r>
          </a:p>
          <a:p>
            <a:pPr marL="0" indent="0">
              <a:buFont typeface="Arial" charset="0"/>
              <a:buNone/>
            </a:pPr>
            <a:endParaRPr lang="en-GB" altLang="en-US" dirty="0"/>
          </a:p>
          <a:p>
            <a:pPr marL="0" indent="0">
              <a:buFont typeface="Arial" charset="0"/>
              <a:buNone/>
            </a:pPr>
            <a:r>
              <a:rPr lang="en-GB" altLang="en-US" dirty="0" smtClean="0">
                <a:solidFill>
                  <a:srgbClr val="9F9FA1"/>
                </a:solidFill>
              </a:rPr>
              <a:t>LTE-A</a:t>
            </a:r>
          </a:p>
          <a:p>
            <a:pPr marL="0" indent="0">
              <a:buFont typeface="Arial" charset="0"/>
              <a:buNone/>
            </a:pPr>
            <a:r>
              <a:rPr lang="en-GB" altLang="en-US" dirty="0" smtClean="0"/>
              <a:t>November 2013	</a:t>
            </a:r>
            <a:r>
              <a:rPr lang="en-GB" altLang="en-US" dirty="0" err="1" smtClean="0"/>
              <a:t>Techcity</a:t>
            </a:r>
            <a:r>
              <a:rPr lang="en-GB" altLang="en-US" dirty="0" smtClean="0"/>
              <a:t> </a:t>
            </a:r>
            <a:r>
              <a:rPr lang="en-GB" altLang="en-US" dirty="0"/>
              <a:t>LTE-A </a:t>
            </a:r>
            <a:r>
              <a:rPr lang="en-GB" altLang="en-US" dirty="0" smtClean="0"/>
              <a:t>300Mb Trial</a:t>
            </a:r>
          </a:p>
          <a:p>
            <a:pPr marL="0" indent="0">
              <a:buFont typeface="Arial" charset="0"/>
              <a:buNone/>
            </a:pPr>
            <a:r>
              <a:rPr lang="en-GB" altLang="en-US" dirty="0" smtClean="0"/>
              <a:t>During 2014		First commercial LTE-A live in UK</a:t>
            </a:r>
          </a:p>
          <a:p>
            <a:pPr marL="0" indent="0">
              <a:buFont typeface="Arial" charset="0"/>
              <a:buNone/>
            </a:pPr>
            <a:endParaRPr lang="en-GB" altLang="en-US" dirty="0" smtClean="0"/>
          </a:p>
          <a:p>
            <a:pPr marL="0" indent="0">
              <a:buFont typeface="Arial" charset="0"/>
              <a:buNone/>
            </a:pPr>
            <a:endParaRPr lang="en-GB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F0637EC-15CD-457A-8522-82A56E702964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Forecast Mobile Data &amp; Video Demand for UK</a:t>
            </a:r>
          </a:p>
        </p:txBody>
      </p:sp>
      <p:pic>
        <p:nvPicPr>
          <p:cNvPr id="2" name="Content Placeholder 1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129309"/>
            <a:ext cx="3766837" cy="374441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D2580D-04B0-4A9E-B255-C1CB9A3D3855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688" y="1129308"/>
            <a:ext cx="3790635" cy="367240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547664" y="4945732"/>
            <a:ext cx="1800200" cy="288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dirty="0" smtClean="0"/>
              <a:t>Mobile Dat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724128" y="4940236"/>
            <a:ext cx="1800200" cy="2880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dirty="0" smtClean="0"/>
              <a:t>Mobile Video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46" name="Group 16"/>
          <p:cNvGrpSpPr>
            <a:grpSpLocks/>
          </p:cNvGrpSpPr>
          <p:nvPr/>
        </p:nvGrpSpPr>
        <p:grpSpPr bwMode="auto">
          <a:xfrm>
            <a:off x="4786313" y="1285875"/>
            <a:ext cx="3643312" cy="2357438"/>
            <a:chOff x="4616450" y="2441574"/>
            <a:chExt cx="4170363" cy="2709863"/>
          </a:xfrm>
        </p:grpSpPr>
        <p:pic>
          <p:nvPicPr>
            <p:cNvPr id="31758" name="Picture 6" descr="http://farm7.static.flickr.com/6050/6215007360_f7ba0e6e70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6450" y="2441574"/>
              <a:ext cx="4170363" cy="270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59" name="Picture 4" descr="http://www.tvaerialcompany.co.uk/images/aerialrepair3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6875" y="2886075"/>
              <a:ext cx="2309813" cy="15716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1747" name="Group 15"/>
          <p:cNvGrpSpPr>
            <a:grpSpLocks/>
          </p:cNvGrpSpPr>
          <p:nvPr/>
        </p:nvGrpSpPr>
        <p:grpSpPr bwMode="auto">
          <a:xfrm>
            <a:off x="4786313" y="3357563"/>
            <a:ext cx="3643312" cy="2357437"/>
            <a:chOff x="571500" y="2441575"/>
            <a:chExt cx="4170363" cy="2709863"/>
          </a:xfrm>
        </p:grpSpPr>
        <p:pic>
          <p:nvPicPr>
            <p:cNvPr id="31756" name="Picture 6" descr="http://farm7.static.flickr.com/6050/6215007360_f7ba0e6e70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500" y="2441575"/>
              <a:ext cx="4170363" cy="2709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757" name="Picture 8" descr="http://flowtility.com/wp-content/uploads/2012/10/3047-Buffering-3-300x168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2563" y="2901950"/>
              <a:ext cx="2286000" cy="1539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723" name="Slide Number Placeholder 7"/>
          <p:cNvSpPr>
            <a:spLocks noGrp="1"/>
          </p:cNvSpPr>
          <p:nvPr>
            <p:ph type="sldNum" sz="quarter" idx="12"/>
          </p:nvPr>
        </p:nvSpPr>
        <p:spPr bwMode="auto">
          <a:xfrm>
            <a:off x="8604250" y="5297488"/>
            <a:ext cx="325438" cy="131762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B65AC-0895-4D55-82BB-B619EF9956AF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smtClean="0"/>
          </a:p>
        </p:txBody>
      </p:sp>
      <p:sp>
        <p:nvSpPr>
          <p:cNvPr id="31749" name="Slide Number Placeholder 4"/>
          <p:cNvSpPr txBox="1">
            <a:spLocks/>
          </p:cNvSpPr>
          <p:nvPr/>
        </p:nvSpPr>
        <p:spPr bwMode="auto">
          <a:xfrm>
            <a:off x="8604250" y="5297488"/>
            <a:ext cx="325438" cy="131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>
              <a:latin typeface="Rubrik Regular" pitchFamily="2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429625" y="357188"/>
            <a:ext cx="285750" cy="214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5" name="Rectangle 14"/>
          <p:cNvSpPr/>
          <p:nvPr/>
        </p:nvSpPr>
        <p:spPr>
          <a:xfrm>
            <a:off x="8286750" y="1000125"/>
            <a:ext cx="500063" cy="2857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1752" name="AutoShape 2" descr="data:image/jpeg;base64,/9j/4AAQSkZJRgABAQAAAQABAAD/2wCEAAkGBhQSERUUExQWFRQVGBwYFhcYFhYXFxcVFRUVFhUVFBUYHCYfFxkkGRYXIC8gIycpLCwsFx8xNTAqNSYrLCkBCQoKDgwOGg8PGiokHyQ1LC4qKjAtLzAsMC0sKiosLywsLSkpLCwsKiksKS0sLC0pLCkpKSwsLCwsLCksLywtKf/AABEIAK4BIgMBIgACEQEDEQH/xAAcAAACAgMBAQAAAAAAAAAAAAAGBwAFAgMEAQj/xABREAABAgMFAggHCwoFAwUAAAABAgMABBEFBhIhMUFRBxMiYXGBkdIyU5OhsbPRFBUWFzNSVGJzdJIjJDQ1cpSiwdPwQoKytOIlRGNDg8LD4f/EABsBAQACAwEBAAAAAAAAAAAAAAADBAECBQYH/8QANBEAAgECBAMFBwQDAQEAAAAAAAECAxEEEiExE0FhBVFxgfAUFSKRobHhMpLB0QZSU/Ez/9oADAMBAAIRAxEAPwB4xIkeEwB7Eisn7dbaGZED09fsJ2U6aJHaqkAGkeVhar4Sh85HlWu/GPxl/WR5VrvwAzKxKws/jL+sjyzXfj34yfrI8sz34AZdYlYWnxk86PLM9+PfjI+s35ZnvwAyqxKwtPjI+s35Znvx78ZH1m/LM9+AGVWJWFr8Y/1m/LM9+J8Yx3t+WY/qQAyqxKwtfjH52/Lsf1I9+Mb6zfl2P6kAMmsSsLX4xj85vy7H9SPfjFPzm/Lsf1IAZNYlYW/xiHejyzP9SJ8Yh3o8sz34AZFYlYW3xiHe35Zn+pE+MQ72/LM9+AGVErC0+MU72/LM9+IeEQ72/LM9+AGVWPYWfxiHe35Znvx58Yqt6PLM9+AGbHlYWXxiq3o8sz349+MY70eVa78AMysewrZjhPwCqiKaZLQrzJUTHMOF5G+AG3EhUJ4VQd8ZjhS/uo9sANSJCyY4VEE0Ji9s6/7S6AmnTABhEjllLQS4Kgx1QBIkSJAEgdvFboaSc+bLMknRKRtJ/kSaAEi6nnsKCYXVvSq5gJQg0cmXlS7R2IZbBVNv03koKRzBI/xQBRyqZu03lIYUW20nlrB0roOM1KjuTQdOp7nbn2VKn87nGeM2hTgUrrFa+aBa/t9hLg2dZxLTDVUuuJNFvOaLqsZ0rkSNTzACFkqAHwmcu6MvdDR6l92J7uu549rsX3YQhjFRgB+e7buePa7F92IZm7n0hr+PuwkLJ4vH+VSFJyyJI9BEbLe9z8YkMoCU7aFR9JMbqLavc1b1sOhTt3PpDX8fdjHFdz6S1/F3YCbBuhKutBSmwTT5yx6FRum7sSKEH8iMW/G53o2yNbi65Blxl3PpDX8Xdj3jbu/SGv4u7ChmLJaTU4MtmavbGhmRZJzSO1XtivxDoTwMowzZo+HP7DmDt3fpDP8AF7I9x3d+kMfxeyFhZ1gSy1gFAoT85XegvPB1JYMmxX9tzvRJTvUvYo1Fw7Zi/Iu54+X/AIvZGCmbuH/uJfzwvLTuW0hRwgU6Ve2LCSu/IholxgKVvxuj0KjWcstySNKUkmkFypO7v0mX7DHiZG7v0mX/AIoXgsiXJVSXFNnKc0/FFLaFjBOYRQV3nTtjCncOk0OD3Jd76TL/AMXtie47u/SZb+L2womLGbUkcnPbmfbFpJ3VbIzar1q9sM5ZjgZvW6QyfcV3fpMt2n2x77ju79Ilu0+2FPNXeSlR/J0HSr2x2WbY0sojGgU/aV7YOViGFCU9hme5Lu+Plu0x6JO7vjpX8aoE7Su7ZyWqoZBXT57mv4oHl3Zbw4w0OjEr2xBDEKeyZPHAzlHNdevIaPua7vjZP8So89y3d8bKfjV7YTltSrSEjA0kHbmvLtVGlmz21NhVADuqfbE0ZXVytKnldrodPuS7vjZTyivbE9xXd8dKeUX7YW8pcrjUYksbNar9sUUxZKWllDrdD0nzZxvyuI03J2TQ5fcN3vHyvll96PDZ13fpEv5ZfehTsycsRTixi/aX7Yp7bYbRQITQ9JPpMCG+th2my7vfSmPLK9seGzLv/TGR/wC5CGZ0jOBkdj9gWMo/krSl0n6yh6cQjjnLhTCUF2TdbmmxmeJWFn8H8gSYT8ddl2s9LOBxhxTSxopBp1HYRzHKAGldO/TjbmBdaJ8LXk54eUDmnOg6TTdDpsi1A8gEGEfLW2i0mvdvFpE7KU92ISAEzUorkLcw/OCSQeb/AC0ObnTZYfXLlWJKTVB3tqzQSd9MuqAGREjALiQBUXitANpFSK0UoCoqeLQVmg25CB2ac9zcvbJ2YtQ+0dIqrpJY85iwvqMjzNPedhQitv2aN2nzSDQ7XJuAPnJwk5nMnU7ydTGkxtXGpUAYGMTGRjFUAb5GUKzzDUxptNIx0SawV8H0shxTyV0zCKdq6xjeC7raZoYTlSpHojNtLmVJNqCXmWdy3nA3hJyjhvFNLU6lCM6nZ/OOuz5oNqpUU9ME1kWQhxCyCAtQISTsJ0jXPm08WSZMr+VgOMuleBOIEnccgdM92caTY5DlCKDb0wazd0JZCwriVFQUlOMOpzURXHhJyAI0i1tGyW0DEaE0FdNaaxDRlxFeJalGMJJVRaTDBacScRAgzsZ1TtBirlnArP2aXn6V5IPbBbZrSZehr/YjZVoQmk+ZNLByqwlKnstjmvDJlBCa6xY2Fd4LRmawH3uvTidFNI6bq3lfccwMtOO7whCl4dxOEZDpi3GnBVLPZnLnWm6fw7oKLQuk4qoaWhAArVQJrrkKaaawM2hduYSpHHKQuqsGIVHIVriBA0Oh30hhe5HlpKnmXEISUk8rCcQUKAhKsVOUcqUgdsyWDjimwlSuMJqlaySo1qPCNEjoinXqOFZxjtyLdCjGdBTlo+bKez7pLbUQrQQV2RMtYSk0qnIx1vzuBXFuNqbUdApJGzZsI6I53rAQ2FOjLFmYzhq8p3U42IpwnKLyt2BS9VrtkFKRVSdeaB9q1WeLFfCppGdqT7SVrpQkmCK61321yqXUsNLWsqzdqQnCcsKdKUGtNTG9ScY3k0ZpKekYsGZW0wpfNsiym7bwowgR0XjkEISAWmmnqlQW1UIcTWlAk+CfNlFEyoLBFc9KRmMlOFkjEVaqs70OWaWMQUo8k680eTSGkqTRQwkgmOK05dSGs9p/nFdIMYlVIqIwtTaslGVu8+jbv2k17nQUgEUhScK1opcmU4BSmsW1n2uZWUxeFlv80B84h+fcxJbIHm7YuTTUbPmUYtZtDZdiwHZlRWk5CPb1XbcbTxqvBBCeswyOD+7q5Zii9TrGHCqgCzlU8Y36VRmVOmoX52NFVk5WE01pGcYNaRnFQsEiRIkAFXBfOYLTYQfAfxS7g3oeSUUP+bCeqGc26UTMorapgJVzqaOA+cKhR3GNLTkvvLXrEw2p/wCXlP2nx2TDsYAz238h0RI0NeCOgeiJGQVl9PBV9k96pUVfCB8lan3Fn1s3FrfRJwk0NOJeqdg/JGlTFRwh/I2p9yY9dNRkHzquNRjauNSowDAxiqMjGKoAvLrulPGFOvJ9KolspUpypUanLni04PEJPugq2BHnK43W5ZGJYXXTqhGEnIn40OFka1XM23Pug5MrwlWBCUlS3DngSNTzmCyXn5BjJtUw6rEnlKwpRQKFSEjPSusc9nccxZsw4GyW3W6YwRyUpUUqKknOhrSogYaXUA74p1qs4PLax6zsnsjD4i86ju1ayT6X1+1g1mbEdenUtFtQTUq4xO6lUqTsOVM445yQJQVpmm30pzKalDoA1JbVrTmMc0veNwSimhMuA4qBumXF0zHGajP/AA1pHAJNSCypQGBzTMVpochprGlOagssFoZq9iqUZyrTs1fLbnZN8+/pfZ6s1yDCnVqKRkPTGu12XkiqqhMMKyrDSy0Cka5mKa+UwgMkGmcS1W4VFHKeWo1bRdmLD4PuzUw0y0MS3FBI3AHVR3ACpJ3Ax9I3VsFqz5ZEqwK4flF5YnFnwlq5zsGwADZCmuU6WWlzAoFghDat1KKURv8A8I7YMLtuTLlpEukCXcbUhTIBw1UnFiUCak1BGuQMZddZ3TdtB7PJx4kVpv4B09LBSFJNeWKYsqjaPPA7YFyuIdLq1hajUJoDQV21Oen84IXnEMoAUug0BWaknUVJ1NPRA03eBSi62FKUorKGykpBKs1IS2sA5dKSKVzjVpU5LXw/Pfbl+Nc041JU5W25/j+QrmbGZda4taAQSVDeFkklaTsVU1gLtSzsTRRXTLsgktyfxMkJUps0BDozSCTkF0OLCa0qN8L2XtcP42+NSl5JUHK1NCDoQB4Xmz12xaTV0u8iipqDs7LmuneCK7CRxuAJxqJ0AqYJZSqZcoQ4tGBeDCBooqBJzplRKhlv1jjti2/cFWG0FD1fyriwKlWqSOamY2Culc4HmLTW4sJW4CCKBThVhSakg1GaRXbzxVr1Myydx3MN2W4QdZPltvf/AN5FnaUkh9aCoqK0q4sVFCpazQKoKADI57aRpsu7obVy8q/3nHbOzrbLZbStDrxILi0EKQgDOiXB4S+cZAVoc8uQXldSaqIXXP8AKISrdmCpNdmyGHrqi/iVySXYlXF0uJCSj0fPqdNsXVDrZCR0RQ2JwdTBriyEG1h3ubdJS4lDVE5UJopdcqA12bKj+UXlk28y6FALSgpOEYiAFnPNs/4hlXZqI6Cq0XFNaHAxOAxdGUlKN7Wu1qtdijs+4CEpAcJUBs2dkEMrZTbYolIEWCkZV2bCMx2iNSom31RyndOzNaoDeFX9XK+0b9JgyVAdwqfq5X2jfpMay2NofqQmmtIzjBrSM4rFskSJEgC6uR+spL7yz61MNy0/0mVH15j/AHL0KO5P6ykvvLPrUw27TP51LftzH+6ejAGSz4I6B6IkRnwR0D0RIyDRfEfm7n2Tnq1QO8IfyNqfcmPXTUEV8f0dz7Jz1aoHOET5G1PubHrpqAPndcaVRuXGlUAYGMTF8/YiBJuPAqC2nm2jnUKS6h41pTIgtbNiooTABDdJSqPBGpweYri9bs9555tupOIgZ1Az3xWXEaqmYINCkIp/HBPZE/gViUTUGojEr2JaTV+/oclv2m822uSWRgCdg8IVqBi3AjdGV1JZhTqEzKgEYDqSAVACgURs180X157C92tJeYIxUzBNKjaBzgwFLqkkqypkBtqObpjmzk2otu/ie77Nm6yqxso35xVt73fjoH89cNggqQ8Ek8pKBQ0TWuScRURhyrvzgdk1qXacqwVhTaF4EmlAUUxJqdpzp1QNlsmlNYsrOdKHG1kUUhSTUcxGcZc4vRK19zFbBYh0ZuVRysm1p011XO2nmMu8s+qWGAppXQ7DAS/Je7HEpWqiagH20hkXjk/dDRO7MdcLW0pFTa6JNCInry4NWMZXfczxuBwbq4eU4vVBRJy7KHUMpzal0Fw/WVUBJUNgxGvVF1dS2W3JkAHlHFQbckknzCBSVUhLRUUpCiKqOWInp16o6ODN1D8/iSKcUhRPSoFI9JPVFLC5XVlxN192be23hKEFpt4L8hdbU04rCMgpKq5EpUcqUCXKbzlXYOoWtJlKkJKF8W82caHC4lFKimYSshQNNa9G6GJOslYI1G7WnsgdmZAJUCENkp0qKkdCRHSlBPkQqvNQyJ6AdO33mkNOszaVVwkJWCChdRQELG0eFrWAGWmHFrxs4sQNARWopoAYZlrWaJnEy4aKUrjMtKYimlR059Ijrsi7DUuKJA7Ixh6cailvdO30Tv8AUe2SoyTSW39ibfYc4yiwrEDWh1rrWCN2wnmwhSSlasOMhFVqQBhIx1TSvKA1NSDBdfiyEFpLwTRaDhrvSquR6DSnSd8UEje9xpOEoS6RQJKy4EpCajlJSoBR59+esQ1oqE8rPV4CpVr4ZV6K1bakr9xXzTbylrU+SVoHKxqFaBQFBoFHlDICsbLy2umYLYaSvkpw0UakrJ0SST0R2vX0dUcgRlQgrJb/AMWiSMW3QqPoprulI8ZMJNOS3yyeceCPxUPUY1g8zyLmWqycKTr1IqPDTtbqrevGx1G4jqWwQ43xlM0lJpi2pDlT24YuWbgtLaRiU4lxI5RSuqSo68lYI5qimkXhjrYOUdRYamtbHhK3a2LrwUJz0TvyX2ByWsadlj+QfQ4n5iwpBI3E8pJ66Rby9uJPJmEKlnN55TSj9VYyHRXqjuJjmmmErSpChVKhQj+9sY4GX/5u32IPaXPSqr/czngUoxChB0KSCD1+2FvwiWmtcmpKgaY0+YmkESbJm2ioNvIU1SqEqFDirovmIJzFejbFLwmMUk1H66PSYypScfiVjWUIKaySuhWNaRnGDWkRbgERExnEjUh/MVGW2mtNtIIbwXUXLAOA8YyqlFgUpXNIWNldh0PmgDG5H6ykvvLPrUw150/nMr+1Mf7l6FTcf9ZSX3ln1qYab5/OJTpf/wBy9ADQZ8EdA9ESIz4I6B6IkAaL4/o7v2Tnq1QOcIvyFqfc2PXTUEd8f0d37Jz1aoHeEX5C1PubHrpqAPnVcalRtVGpUAFUz+rZr73L+rm4EFQXzX6tmvvkv6qbgQMZYCm48spSZgpNAkIqN9cfsjrTMYlEE0pl00jhuU8QHwDQEIr1Y42W9KBOaFUrr0mEIuUrS2JY1HSWaG4Qyl58DdG1DXppnRUVtoLK3CqtaknTXPWAySm+LdTi0ChUbwFCsGE5QKO4E9lYoYuEYtZUex/xyq6yqym9rfW54G+enUIsrIkeM4wVFUtlaanMqSUkADadYqZZWLPPo2b4JboWZxz9CDQJJJzyNMs9h17IrU4uU1E9HjZxWDqVNlZhQL6MtsllxRD+EEJwnOqaih0pAJaNpKLuMnXZGF9HngtLOErebWQhQTqyQaBShuVp0mNdl3ImnyC6cCdw17Y6DozrSi3sj5zHE0cNRnCLvKX2OeZtkqUQNDlFxwe3rRZanXZht4h6iUJRgzw5lSsShpkB+0YKrKuOy1QkAkb8zHHf67gXLpW2PkjiUKDNBHKUCRVNNTTUa6CLCwyzZvA5HGWyRZjhvkF+EH2+ZTKVedCjlGocLFmKNC6RzlhVOziznAUjgnmnWeNwoSSMSWyohxQIqNlEqpsJ6aQun04FFJBqDTMUIIyII2EHKN3w27wlf162N7S5oc9rcKckXmkMqcKa/lHwjCAklPISFUOGoBJI0qACTUF6XAQCCCCKgg1BBzBB3R832dJKeVhTQKKVFI3lKSrD0nDQc5EPa5r+KRY24U4K7+KUW6/wxtBKMnZavX5aEFVaGN9HwmUXXaUhP7WIHPmoDC3UmDu+1p4UBlNDizXnoAapHWRXqgUdspxKUrU2oJUKpUUmhFQKg9JHbHMxks1XTkfRP8boSp4JOemZtq/lr9P55lYR/fshh3Vs/ipcEiinOUd9P8A7M+uA5FiuLbW4kUSjXYSMjVIPhAAgmnzhvhjIySBuA9A3RLgYXk5M5/8AlGIcaUaMXo3r5W0+qZkox0sHKOJa6RmzPJw1rHVbS3PBxTex2KMa1KjlmbQCU4tkCnwmVx9FHkmIJV0tEWI0JNXLu2LVLRFM60FN2tTX+9IFuEqdJk6EUqpB7KxZWxayKJpmQoE8wgNv3b5mEUAohJGe8xDGTlG8nr3E/DUWrLzA9s0EdNgWaJiYbaUopSokqUBUhKUlaqA6miTSu2OZsZR02DaQl5hDpTiCScSa0JSpJSoA7DRRplrAyWtmy0hMPNsoRNIU6tLaVqeZWEqWQlKlIDKSoVIqAoZQxLBZS/ItIcFUraCFdmGvmB6hC7s+bkJd5t5Cppa2lpcShSGUJUpBCkhSwtRAqBUgaQw7CeDEi2teSUNBauzFTpqadYgABuWyU2rKJOqZptJ6UugH0QzCqr0kd/HHtmHoWlyXSu1pRR1VNNqPSXQYZI+Vkeh3170ANVnwR0D0RIjPgjoHoiQBovj+jufZuerVA7wi/IWp9zY9dMwRXx/R3Ps1+rVA9wifIWp9zY9dNQB86rjSqNqo1KgC2mLdBlXGAk1deQ6omlEhtDqQkDbUuk15hFIYyMYmACa5EgXi6kGmSf8A50gtnbpYWSFZkDWKHgzQavkbA36XIYkpNY1BK9DHMni3TxHDe2lvM9JhMFTrYWM7a63+bFLaN3AlNRHbaTakNoxaqbSrqUkEdcOaTuuzQ1ANYX/CbYyZdWJBohSdNyhlRPNF7EUnkUn3kXZ2Np0K1WKdoyX1Xpg5YhK8SQCTXIU1yEFdhXnMg28C2VOKKMCdATiwkHdkrWBG7Lxam2xj+UQQa7FKTUeeL+8rBWynixRxDqOUQQSTXLoqIqU2qVdO+m/9l7E9qrEYGVFx01W+t90/DYKrNtxqYeONGF3KqTqmume2CB18IG6B6x7MIIdWPyigMR6BSLG028aNdY6ccTTqXdN3PEUI8aWWGtjGQtsOOFI2GOu0XkYFJX4KgQegihjisqyENpxp1Ov/AOxutFhDlEq27OmI44qErrZ7FinhKlSq4QWxeydppcaS5UZ9Weh88IDhUsri59xxNOLfJcRTqC67jjxf2YbV67IeZQiWYSeUoJBBAFCqqlKOyKG811kvsMpVmWVDM15STk4DTPOgPUIqUZZXLNpa9upbxVWEYwTauxO2bMLQ6hbfyiVBSaAmpSagUGZ0htXIt5SJUNOpKFNqIAII5CzjTrnliI6o3m7TLbam0pCRSpIFCRzkR3WddVlhhBTkMs1HWpJzJypmcoyu0Ixtdb6IixGGyOMb3cnp68zokrviYWZh5xSRQcWlJFU00WSQQN4Tz1yjmatVKVzCJh7GlCkqNQMTwp+TLh1WARQI0rmdkdFt2zxDJWpaSCaIAIII6hmeisKRy01Ozdc+WcO2mennoeqI03KTaPQ0cTJONKb00iulrbO2nphDaN5Hpl7i21YMyhG0qQaVDm8U3aUO8wcys+EoAOwADqFIG7IsMS4UvwnqcpRpkQM0I+anzmLSwUVSXHNKdQrnFvC0qtSfw7d5w+0sdTlHLbRPTrf1/dzrbm1PkpQNI1Ku46Ea0zHZWN1lT6eNcU2MiYtXrYIFKV3x5zF4zE0MU4Q+JHSp4HNh1OK5XAu9N4S0EMJBxEQIWhaJbUCvqpzxf3qnUKXxtM06VigmmRMIDh13R6WnNVIKc1Z9xyeHKLyxOX33U6TTSOeaWVS7hNclpFesxY2dKZqoKbI7LZlkN2etIHKxoz3ipjaOV6GJRklmYHNaRHG6xGtIzgRmpDGYqcttNac0EFv3qcmQEAcWymmFANa0ySVnaRu0EUkSAL64H60kvvLX+sQzVCj0j+y7692FpwffrSS+8N/6xDOmRSZk/wBl317sANBnwR0D0RIjPgjoHoiQBovj+jufZr9WqB/hFH5C0/uTPrpqCC+X6O59mv8A0Kii4RR+b2l9ya8z0zAHzguNRjauNSoAwMYmMjGJgAu4P57iuPJNAeLB6yukHsxaiFIGHJULO7dPc83Xc36XIpWLfeQQQ4TTYcxHNxOBdSXEi7N/wd/s7tSlRgqdWL02a6959C3anSpJxqFRAnwozSFKQ2oFQpiBB3kilOqFrNX2mFCiVcXvwk5x0WbbbjyFJdVjKTUEiqqHKld1fTFuMpxwyjU/UhSWHrdot07ZZJ8ra2Cy7djILhmiiqQnkIOeaBnn1RZSlplxxAUylKFqyNFHlAVFCTE4PJwvHiKgBulQaZhecV9pOGWmFhxRPEqI6k1AoNg0yinXUmnpurFrCUaVSGMpNapNrws0Hk/PpQ1XmgXdmHFpNF5RXWtedpxk0VoIBXL3uYCgZV2xV7PoSpqyjZX1PLdiulTjVdXSVvh8RnyForSjNVQDQxYiZS4pCgoZHPPdCesq8bgBQo1Bgjund6efq42qjedMVc+iOyqLrOUHHTkXcHiuBWz96sxv3in8L9cSKJBJ5XKGWJIw0qK5bY4ZSZC0ZiNPCIh1Ejx5QMbbLQVQglJUtsOUJz2ntgHY4T0MtoAbxqJAVnSg2nnPNFHG0Ks3HIlp97/g4eKpznP4VdFvfG0gyc65JqE6A1HJJO7mHPHFM2st4Nox4AlIIzoCtSU0BVs11OQzgzTMs2m2yhoocJQM8NeLoOXjBFUUOVDSuzWAS8diqlZniX3EpCuVxlapKCTmAc65EU39sRQo5oppXd/rs/rzPbdkVqF+JXaThHS/fbV+S5dehzzay4yQ4CC2vUZBWRBqNCoUpXWhz0Ect1GGxOY1UKW0FdTv0HnIjovZeBhaUsy55KR4ROprUlR2k5k9MDtlzvFOqKvAUnCroJBNN5yyi5w3SqXeu38FTEYt4xOMPhTv5X5hc/bgLuGtEKOe6Le8Fpoblk8WRsr0bYB7VUkNocSQUrChTalSSMjvyIIPTujKz5Ja0flFZbBzR1KWIjCLV9HszkvsyvUqcNQcpR3t90MSy35dLAONIUeffHFbN5mWBkoKJ3UMLe3kFS0MtnXPsjmnbJWyipUDv3xzq2DoSxirRn5W0udKjPGww04yp6R0b7i/tR9EysJGmp3dEapZ4cpCRyUfyyyi1s0shlvCK5Cppu9MWd1rvpemFhNMOpy2mLSs58NO5FLBV40FinGy/g9mLNZYkQpRAWqh561jkv7Z6RZaXEDLGjPmNYu7e4NCtXGKfJSmlEbIx4TRhsgoCaBK2u2qhF6dK0W0uRyM09EJdrSM4wa0jOOeSEiRIkAEPB2P+qyX3hHphnzv6VJ/suetdhY8HI/6rJfbo9MM+eH51J/sK9Y4YAZrPgjoHoiRGvBHQPREgDTe9NZdz7Nfq1RRcISqy1oc8ig9Qdf9sFdtS2Nsp2KBSehQKf5wHWh+ccUyrIzkg8yPt2sBwnrUv8JgD51XGlUb3myklKhRQJBB1BBoQeuNCoAxjExlGJgC8u+Ky80BuR/9kDZl1fNPYYO+DVrEXxQHJGvS5BsJBHi0+aOfXx6pTyW2K062WTVhGcSdx7IvLmymKbbStt1baqhwNpJXgoakCmw0MNf3tT4tHYIzVK0QtKAEcYnApSRRWAkEpB2VpQ81RES7RhLSSsvXQ3pYx05qaWwFy06w1ajbkuHEMcjECrErkVCsVN5oaQVX7t5E5LrShLaGXlAId4ol5x1NCoDTdhNaZVjdLWWE1JCVEnXCE0AAAGUV8zdXGVAuu8UpZUpoKGDlAUAyqnQ1oc67ILtCnez5bMn9vXEnJK2ZW3b8/HxFC6wRpUgioNCB/daxr4o7j2Q8pWxmm0hCW0gDTKvPmT0xt9wI8UnsEY96R/1KntHchJ2dJLWtKUpJKiAMjmSaCPpm7divMSiQ22CUpGRVgx6YsFQdlaFVKmmgzgRVZqVjCkBtRFEqAzSo+CrLZWleasXPw5nFSgmC2w3WtGFLWHHKEA4FkZKUUqwihBxCucdDCY+Mot25+vmSU5yndrQF7/LnBxpK3HpaZSW0IIw+5VN0cKHUgUBFPCrmNuVIVqmTmKUOng6Z9GsMmznzPiYemHXSJkisu2vChKGlUaSoqyxhSBs0xak5XZaQSTgRmanIbTWK2JxdLD1XCKuvwJ1XFK+4tLgXqMjOtqVyUcYA4c/AUMLgoNUkUNDoUgiMr4Xhcnppx4hQTUhpPzWweSOk6nnMX9v3eSiYbdYQtbilBwjAFsZBQIrTkrTQVSa1qCKwUFpsaoAO5QAUOYg7RGJdoQjBSSumKryWfeJ1TZ3GN8lIlw4TUZVBocobZDfzUdgjku9Y7L7k0DLFa+OAQ6plx5hCcA5CkNuIKDU1xZ5RPhcRHFNxWllf6maGJy1E7eV9+gupGReQotlsuN1oaZgaGv1emCy3rLbly2kTLeF0Ym1KVhNBQELqKJIOWtDBBO3Yl22yUNMuziWXFBlJXxDgRNOJcdRysThQhIo3UZZ5mB280vKNy7bjDZK52jqQupEs0k4VtNmvKJdCuUf8IHTF6ODUnq/p+TqQ7Yr0bqCVtVrvZ9dHpy8SonrCLD7SirEpYJ6tlOaKu3HFFzCfBABp6YbtlWIhyTSpLCUrDayp15twoURiOJDyXAEZCgBTqI65yzrPExxC0tpJcaCQhLqVJBAUsPOKOAg1pydKxSzfFmSR1XTkqMsNnk3dttK+2mvxee4JLu2gSCXUrzAByOoi24NZQJU6oqIGQqeYGLeXsZqgVMy7TDgD54sYygtNtpUhxTYUSaKqKgivZGtcnLomQ2JdpSVSynSujnFqWltSwWOWeQcga7QdIlhVyVFNL18jbLnwzw825PdStyXJfFZ7cgUvBaxNpMMMPrW2VjGK1FQa0i14Vx/0xzP/ANRr0qiys6yW35UOIlm2llC1KW404WjSpBadDnIAAoAoHMbdoDfKYJs8AqURiRkeuJZdoL9Ml+rY4uLwyw6/Vd3ta1u/q+4XrWkZxg1pGcalMkSJEgAl4NE1taS+2B7AowzZw1mpSnzFf61iATgflK2kl5Xycq24+s7BRBSnzq80H1gsl6Ylz82XSo9LpxjzDzwAymk8kdA9ESOxEtkOiJAHQ+3iSRC1v3JONoS40aLYe49o7lKycR0KNFU21UIZ0cFp2Wl1JCgCCKEHQg7DACUvNcwWqgz9ngccf0qWqAoO0zU3XI11pt1GdRCun5FxlRQ6hbahqlaSk9igId8zc+bkXy/IrrXwm1mhUmtcOI8lfXQ+eLIcIywMM5IuCm9orT1EAiAPnPGN47Y8KhvHbH0YL82af+0R1y6e7Hqr5Wb9Eb8gnuwAk7m3iZlS6XSrlhNMIB8EqrXMb4J08JEp/wCX8H/KGF8MbN+hs/u47kefC2zfobP7sO5FSrgoVZZpXuQypRk7sABwkyn/AJfwDvR78ZUn/wCX8A70MAXpsz6Gz+7J7keG9dlfRJf92T3Ii93UuvryMcCAAfGVJ7nfwDvR78ZUnud/AO9B78KrJ+iS/wC7J7ke/CiyPost+7p7kPd1Lr68hwIAF8ZUlud/AO9Hnxlye5zyae9B4q9NkfRZb93T/TjE3osj6LKfu6f6cPd1Lr68hwIgKeEiS+a75NPejEcIshTwHOji00zNTli3wcm9Nk/RZP8Adx/TjMXmsf6NJ+QT/TjPu6mub+f4M8GIBI4QbPHgoWOhlA9CoyHCNI/Nc8mO9B8LxWN4iS8gnuRn7/2L4mS8ijuQ930+vzMcCIAjhLktzvkx3o8+MmR3O+THeg/9/rE8TI+RR3I9FuWJ4mQ8k33Ie76fX5jgRAA8Jclud8mnvRxPXysxaipTSypWZPF5k8/Lhme/dieKkPJN92ILasPxUh5JvuxvDBRg7xlJeDHAiLD4V2V4hXkx5uXGIvTZXiVeT/5w0xa1h+KkPJN92Mhadh+KkPJN92JOA/8Aef7mZ4ERZfDmzvmL8mO/HhvxZ/zF+THfhoGfsPxUh5JvuRj76WF4qR8ijuRF7FDvfzLPFq/9Jfuf9iw+HFn/ADHPJjvxDfmQ+Yv8H/KGh752F4qR8gjuR4bUsPxUl5BPch7FDvfzHEq/9Jfuf9ivN97P+Y5+D/lFVeq9ss/LFpoLriSRVIAomu2phye+9h+Jk/3cf04x9+LD8RKfuw/pxtHCQi1LXTqaSc52zybt3ts+bmjlGVY+jvfuw/o8r+6juRibfsMf9tL9UqjuxbB851iysO7sxOOBEsyt1R2pHJTzqX4KR0mHTaF8bMR+jyEuVfOUw2kdQAqe0RTTt7rQmxxLADbZywtJCEgf5antIEAV01JIkJf3tYcSuZmCDOvpzQ2hGfEoOpSnMk7TXaaBpXJsPDVwpoVUoDqlCUhKE9SUjrrAzcbgvLa+OfOJeoGwUNQTvNc6aDI5mhDVlpcIFBAG2kSPYkASJEiQBrcZCtRHI5ZKToSOgx3xIAG566PGGvGug/VdWnU12GNMvc5SFVD755i6sjrBMFUSAKdNhmnyiu2NC7tqJJ41wV3OLA6hXKL+JAA+m7qwflnOtZPpMdSLFVtcV2xbRIAqzY5+ertjlcu8s6OufjV7YvokADvwcX453yivbHW3Yyhq4vti3iQBWe9B8Yrtjz3nPz1dsWkSAKv3mPz1dsT3m+urti0iQBVe8n1jHhsEfOMW0SAKn3gHzj2x57wJ3nti3iQBUfB8fOMeG7w3mLiJAFN8HU74nwcTvi5iQBS/BtO8xPg2neYuokAD05cxl1OFxIWkGtFZiu+kcQ4NJPxLf4RBdEgARPBpJ+Jb/CI1HgqkTrLt/hgziQALSvBzJt+Cw0P8ifZF1LWK2jwUgdVI74kAYpQBpGUSJAEiRIkAf//Z"/>
          <p:cNvSpPr>
            <a:spLocks noChangeAspect="1" noChangeArrowheads="1"/>
          </p:cNvSpPr>
          <p:nvPr/>
        </p:nvSpPr>
        <p:spPr bwMode="auto">
          <a:xfrm>
            <a:off x="155575" y="-792163"/>
            <a:ext cx="27622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31753" name="AutoShape 4" descr="data:image/jpeg;base64,/9j/4AAQSkZJRgABAQAAAQABAAD/2wCEAAkGBhQSERUUExQWFRQVGBwYFhcYFhYXFxcVFRUVFhUVFBUYHCYfFxkkGRYXIC8gIycpLCwsFx8xNTAqNSYrLCkBCQoKDgwOGg8PGiokHyQ1LC4qKjAtLzAsMC0sKiosLywsLSkpLCwsKiksKS0sLC0pLCkpKSwsLCwsLCksLywtKf/AABEIAK4BIgMBIgACEQEDEQH/xAAcAAACAgMBAQAAAAAAAAAAAAAGBwAFAgMEAQj/xABREAABAgMFAggHCwoFAwUAAAABAgMABBEFBhIhMUFRBxMiYXGBkdIyU5OhsbPRFBUWFzNSVGJzdJIjJDQ1cpSiwdPwQoKytOIlRGNDg8LD4f/EABsBAQACAwEBAAAAAAAAAAAAAAADBAECBQYH/8QANBEAAgECBAMFBwQDAQEAAAAAAAECAxEEEiExE0FhBVFxgfAUFSKRobHhMpLB0QZSU/Ez/9oADAMBAAIRAxEAPwB4xIkeEwB7Eisn7dbaGZED09fsJ2U6aJHaqkAGkeVhar4Sh85HlWu/GPxl/WR5VrvwAzKxKws/jL+sjyzXfj34yfrI8sz34AZdYlYWnxk86PLM9+PfjI+s35ZnvwAyqxKwtPjI+s35Znvx78ZH1m/LM9+AGVWJWFr8Y/1m/LM9+J8Yx3t+WY/qQAyqxKwtfjH52/Lsf1I9+Mb6zfl2P6kAMmsSsLX4xj85vy7H9SPfjFPzm/Lsf1IAZNYlYW/xiHejyzP9SJ8Yh3o8sz34AZFYlYW3xiHe35Zn+pE+MQ72/LM9+AGVErC0+MU72/LM9+IeEQ72/LM9+AGVWPYWfxiHe35Znvx58Yqt6PLM9+AGbHlYWXxiq3o8sz349+MY70eVa78AMysewrZjhPwCqiKaZLQrzJUTHMOF5G+AG3EhUJ4VQd8ZjhS/uo9sANSJCyY4VEE0Ji9s6/7S6AmnTABhEjllLQS4Kgx1QBIkSJAEgdvFboaSc+bLMknRKRtJ/kSaAEi6nnsKCYXVvSq5gJQg0cmXlS7R2IZbBVNv03koKRzBI/xQBRyqZu03lIYUW20nlrB0roOM1KjuTQdOp7nbn2VKn87nGeM2hTgUrrFa+aBa/t9hLg2dZxLTDVUuuJNFvOaLqsZ0rkSNTzACFkqAHwmcu6MvdDR6l92J7uu549rsX3YQhjFRgB+e7buePa7F92IZm7n0hr+PuwkLJ4vH+VSFJyyJI9BEbLe9z8YkMoCU7aFR9JMbqLavc1b1sOhTt3PpDX8fdjHFdz6S1/F3YCbBuhKutBSmwTT5yx6FRum7sSKEH8iMW/G53o2yNbi65Blxl3PpDX8Xdj3jbu/SGv4u7ChmLJaTU4MtmavbGhmRZJzSO1XtivxDoTwMowzZo+HP7DmDt3fpDP8AF7I9x3d+kMfxeyFhZ1gSy1gFAoT85XegvPB1JYMmxX9tzvRJTvUvYo1Fw7Zi/Iu54+X/AIvZGCmbuH/uJfzwvLTuW0hRwgU6Ve2LCSu/IholxgKVvxuj0KjWcstySNKUkmkFypO7v0mX7DHiZG7v0mX/AIoXgsiXJVSXFNnKc0/FFLaFjBOYRQV3nTtjCncOk0OD3Jd76TL/AMXtie47u/SZb+L2womLGbUkcnPbmfbFpJ3VbIzar1q9sM5ZjgZvW6QyfcV3fpMt2n2x77ju79Ilu0+2FPNXeSlR/J0HSr2x2WbY0sojGgU/aV7YOViGFCU9hme5Lu+Plu0x6JO7vjpX8aoE7Su7ZyWqoZBXT57mv4oHl3Zbw4w0OjEr2xBDEKeyZPHAzlHNdevIaPua7vjZP8So89y3d8bKfjV7YTltSrSEjA0kHbmvLtVGlmz21NhVADuqfbE0ZXVytKnldrodPuS7vjZTyivbE9xXd8dKeUX7YW8pcrjUYksbNar9sUUxZKWllDrdD0nzZxvyuI03J2TQ5fcN3vHyvll96PDZ13fpEv5ZfehTsycsRTixi/aX7Yp7bYbRQITQ9JPpMCG+th2my7vfSmPLK9seGzLv/TGR/wC5CGZ0jOBkdj9gWMo/krSl0n6yh6cQjjnLhTCUF2TdbmmxmeJWFn8H8gSYT8ddl2s9LOBxhxTSxopBp1HYRzHKAGldO/TjbmBdaJ8LXk54eUDmnOg6TTdDpsi1A8gEGEfLW2i0mvdvFpE7KU92ISAEzUorkLcw/OCSQeb/AC0ObnTZYfXLlWJKTVB3tqzQSd9MuqAGREjALiQBUXitANpFSK0UoCoqeLQVmg25CB2ac9zcvbJ2YtQ+0dIqrpJY85iwvqMjzNPedhQitv2aN2nzSDQ7XJuAPnJwk5nMnU7ydTGkxtXGpUAYGMTGRjFUAb5GUKzzDUxptNIx0SawV8H0shxTyV0zCKdq6xjeC7raZoYTlSpHojNtLmVJNqCXmWdy3nA3hJyjhvFNLU6lCM6nZ/OOuz5oNqpUU9ME1kWQhxCyCAtQISTsJ0jXPm08WSZMr+VgOMuleBOIEnccgdM92caTY5DlCKDb0wazd0JZCwriVFQUlOMOpzURXHhJyAI0i1tGyW0DEaE0FdNaaxDRlxFeJalGMJJVRaTDBacScRAgzsZ1TtBirlnArP2aXn6V5IPbBbZrSZehr/YjZVoQmk+ZNLByqwlKnstjmvDJlBCa6xY2Fd4LRmawH3uvTidFNI6bq3lfccwMtOO7whCl4dxOEZDpi3GnBVLPZnLnWm6fw7oKLQuk4qoaWhAArVQJrrkKaaawM2hduYSpHHKQuqsGIVHIVriBA0Oh30hhe5HlpKnmXEISUk8rCcQUKAhKsVOUcqUgdsyWDjimwlSuMJqlaySo1qPCNEjoinXqOFZxjtyLdCjGdBTlo+bKez7pLbUQrQQV2RMtYSk0qnIx1vzuBXFuNqbUdApJGzZsI6I53rAQ2FOjLFmYzhq8p3U42IpwnKLyt2BS9VrtkFKRVSdeaB9q1WeLFfCppGdqT7SVrpQkmCK61321yqXUsNLWsqzdqQnCcsKdKUGtNTG9ScY3k0ZpKekYsGZW0wpfNsiym7bwowgR0XjkEISAWmmnqlQW1UIcTWlAk+CfNlFEyoLBFc9KRmMlOFkjEVaqs70OWaWMQUo8k680eTSGkqTRQwkgmOK05dSGs9p/nFdIMYlVIqIwtTaslGVu8+jbv2k17nQUgEUhScK1opcmU4BSmsW1n2uZWUxeFlv80B84h+fcxJbIHm7YuTTUbPmUYtZtDZdiwHZlRWk5CPb1XbcbTxqvBBCeswyOD+7q5Zii9TrGHCqgCzlU8Y36VRmVOmoX52NFVk5WE01pGcYNaRnFQsEiRIkAFXBfOYLTYQfAfxS7g3oeSUUP+bCeqGc26UTMorapgJVzqaOA+cKhR3GNLTkvvLXrEw2p/wCXlP2nx2TDsYAz238h0RI0NeCOgeiJGQVl9PBV9k96pUVfCB8lan3Fn1s3FrfRJwk0NOJeqdg/JGlTFRwh/I2p9yY9dNRkHzquNRjauNSowDAxiqMjGKoAvLrulPGFOvJ9KolspUpypUanLni04PEJPugq2BHnK43W5ZGJYXXTqhGEnIn40OFka1XM23Pug5MrwlWBCUlS3DngSNTzmCyXn5BjJtUw6rEnlKwpRQKFSEjPSusc9nccxZsw4GyW3W6YwRyUpUUqKknOhrSogYaXUA74p1qs4PLax6zsnsjD4i86ju1ayT6X1+1g1mbEdenUtFtQTUq4xO6lUqTsOVM445yQJQVpmm30pzKalDoA1JbVrTmMc0veNwSimhMuA4qBumXF0zHGajP/AA1pHAJNSCypQGBzTMVpochprGlOagssFoZq9iqUZyrTs1fLbnZN8+/pfZ6s1yDCnVqKRkPTGu12XkiqqhMMKyrDSy0Cka5mKa+UwgMkGmcS1W4VFHKeWo1bRdmLD4PuzUw0y0MS3FBI3AHVR3ACpJ3Ax9I3VsFqz5ZEqwK4flF5YnFnwlq5zsGwADZCmuU6WWlzAoFghDat1KKURv8A8I7YMLtuTLlpEukCXcbUhTIBw1UnFiUCak1BGuQMZddZ3TdtB7PJx4kVpv4B09LBSFJNeWKYsqjaPPA7YFyuIdLq1hajUJoDQV21Oen84IXnEMoAUug0BWaknUVJ1NPRA03eBSi62FKUorKGykpBKs1IS2sA5dKSKVzjVpU5LXw/Pfbl+Nc041JU5W25/j+QrmbGZda4taAQSVDeFkklaTsVU1gLtSzsTRRXTLsgktyfxMkJUps0BDozSCTkF0OLCa0qN8L2XtcP42+NSl5JUHK1NCDoQB4Xmz12xaTV0u8iipqDs7LmuneCK7CRxuAJxqJ0AqYJZSqZcoQ4tGBeDCBooqBJzplRKhlv1jjti2/cFWG0FD1fyriwKlWqSOamY2Culc4HmLTW4sJW4CCKBThVhSakg1GaRXbzxVr1Myydx3MN2W4QdZPltvf/AN5FnaUkh9aCoqK0q4sVFCpazQKoKADI57aRpsu7obVy8q/3nHbOzrbLZbStDrxILi0EKQgDOiXB4S+cZAVoc8uQXldSaqIXXP8AKISrdmCpNdmyGHrqi/iVySXYlXF0uJCSj0fPqdNsXVDrZCR0RQ2JwdTBriyEG1h3ubdJS4lDVE5UJopdcqA12bKj+UXlk28y6FALSgpOEYiAFnPNs/4hlXZqI6Cq0XFNaHAxOAxdGUlKN7Wu1qtdijs+4CEpAcJUBs2dkEMrZTbYolIEWCkZV2bCMx2iNSom31RyndOzNaoDeFX9XK+0b9JgyVAdwqfq5X2jfpMay2NofqQmmtIzjBrSM4rFskSJEgC6uR+spL7yz61MNy0/0mVH15j/AHL0KO5P6ykvvLPrUw27TP51LftzH+6ejAGSz4I6B6IkRnwR0D0RIyDRfEfm7n2Tnq1QO8IfyNqfcmPXTUEV8f0dz7Jz1aoHOET5G1PubHrpqAPndcaVRuXGlUAYGMTF8/YiBJuPAqC2nm2jnUKS6h41pTIgtbNiooTABDdJSqPBGpweYri9bs9555tupOIgZ1Az3xWXEaqmYINCkIp/HBPZE/gViUTUGojEr2JaTV+/oclv2m822uSWRgCdg8IVqBi3AjdGV1JZhTqEzKgEYDqSAVACgURs180X157C92tJeYIxUzBNKjaBzgwFLqkkqypkBtqObpjmzk2otu/ie77Nm6yqxso35xVt73fjoH89cNggqQ8Ek8pKBQ0TWuScRURhyrvzgdk1qXacqwVhTaF4EmlAUUxJqdpzp1QNlsmlNYsrOdKHG1kUUhSTUcxGcZc4vRK19zFbBYh0ZuVRysm1p011XO2nmMu8s+qWGAppXQ7DAS/Je7HEpWqiagH20hkXjk/dDRO7MdcLW0pFTa6JNCInry4NWMZXfczxuBwbq4eU4vVBRJy7KHUMpzal0Fw/WVUBJUNgxGvVF1dS2W3JkAHlHFQbckknzCBSVUhLRUUpCiKqOWInp16o6ODN1D8/iSKcUhRPSoFI9JPVFLC5XVlxN192be23hKEFpt4L8hdbU04rCMgpKq5EpUcqUCXKbzlXYOoWtJlKkJKF8W82caHC4lFKimYSshQNNa9G6GJOslYI1G7WnsgdmZAJUCENkp0qKkdCRHSlBPkQqvNQyJ6AdO33mkNOszaVVwkJWCChdRQELG0eFrWAGWmHFrxs4sQNARWopoAYZlrWaJnEy4aKUrjMtKYimlR059Ijrsi7DUuKJA7Ixh6cailvdO30Tv8AUe2SoyTSW39ibfYc4yiwrEDWh1rrWCN2wnmwhSSlasOMhFVqQBhIx1TSvKA1NSDBdfiyEFpLwTRaDhrvSquR6DSnSd8UEje9xpOEoS6RQJKy4EpCajlJSoBR59+esQ1oqE8rPV4CpVr4ZV6K1bakr9xXzTbylrU+SVoHKxqFaBQFBoFHlDICsbLy2umYLYaSvkpw0UakrJ0SST0R2vX0dUcgRlQgrJb/AMWiSMW3QqPoprulI8ZMJNOS3yyeceCPxUPUY1g8zyLmWqycKTr1IqPDTtbqrevGx1G4jqWwQ43xlM0lJpi2pDlT24YuWbgtLaRiU4lxI5RSuqSo68lYI5qimkXhjrYOUdRYamtbHhK3a2LrwUJz0TvyX2ByWsadlj+QfQ4n5iwpBI3E8pJ66Rby9uJPJmEKlnN55TSj9VYyHRXqjuJjmmmErSpChVKhQj+9sY4GX/5u32IPaXPSqr/czngUoxChB0KSCD1+2FvwiWmtcmpKgaY0+YmkESbJm2ioNvIU1SqEqFDirovmIJzFejbFLwmMUk1H66PSYypScfiVjWUIKaySuhWNaRnGDWkRbgERExnEjUh/MVGW2mtNtIIbwXUXLAOA8YyqlFgUpXNIWNldh0PmgDG5H6ykvvLPrUw150/nMr+1Mf7l6FTcf9ZSX3ln1qYab5/OJTpf/wBy9ADQZ8EdA9ESIz4I6B6IkAaL4/o7v2Tnq1QOcIvyFqfc2PXTUEd8f0d37Jz1aoHeEX5C1PubHrpqAPnVcalRtVGpUAFUz+rZr73L+rm4EFQXzX6tmvvkv6qbgQMZYCm48spSZgpNAkIqN9cfsjrTMYlEE0pl00jhuU8QHwDQEIr1Y42W9KBOaFUrr0mEIuUrS2JY1HSWaG4Qyl58DdG1DXppnRUVtoLK3CqtaknTXPWAySm+LdTi0ChUbwFCsGE5QKO4E9lYoYuEYtZUex/xyq6yqym9rfW54G+enUIsrIkeM4wVFUtlaanMqSUkADadYqZZWLPPo2b4JboWZxz9CDQJJJzyNMs9h17IrU4uU1E9HjZxWDqVNlZhQL6MtsllxRD+EEJwnOqaih0pAJaNpKLuMnXZGF9HngtLOErebWQhQTqyQaBShuVp0mNdl3ImnyC6cCdw17Y6DozrSi3sj5zHE0cNRnCLvKX2OeZtkqUQNDlFxwe3rRZanXZht4h6iUJRgzw5lSsShpkB+0YKrKuOy1QkAkb8zHHf67gXLpW2PkjiUKDNBHKUCRVNNTTUa6CLCwyzZvA5HGWyRZjhvkF+EH2+ZTKVedCjlGocLFmKNC6RzlhVOziznAUjgnmnWeNwoSSMSWyohxQIqNlEqpsJ6aQun04FFJBqDTMUIIyII2EHKN3w27wlf162N7S5oc9rcKckXmkMqcKa/lHwjCAklPISFUOGoBJI0qACTUF6XAQCCCCKgg1BBzBB3R832dJKeVhTQKKVFI3lKSrD0nDQc5EPa5r+KRY24U4K7+KUW6/wxtBKMnZavX5aEFVaGN9HwmUXXaUhP7WIHPmoDC3UmDu+1p4UBlNDizXnoAapHWRXqgUdspxKUrU2oJUKpUUmhFQKg9JHbHMxks1XTkfRP8boSp4JOemZtq/lr9P55lYR/fshh3Vs/ipcEiinOUd9P8A7M+uA5FiuLbW4kUSjXYSMjVIPhAAgmnzhvhjIySBuA9A3RLgYXk5M5/8AlGIcaUaMXo3r5W0+qZkox0sHKOJa6RmzPJw1rHVbS3PBxTex2KMa1KjlmbQCU4tkCnwmVx9FHkmIJV0tEWI0JNXLu2LVLRFM60FN2tTX+9IFuEqdJk6EUqpB7KxZWxayKJpmQoE8wgNv3b5mEUAohJGe8xDGTlG8nr3E/DUWrLzA9s0EdNgWaJiYbaUopSokqUBUhKUlaqA6miTSu2OZsZR02DaQl5hDpTiCScSa0JSpJSoA7DRRplrAyWtmy0hMPNsoRNIU6tLaVqeZWEqWQlKlIDKSoVIqAoZQxLBZS/ItIcFUraCFdmGvmB6hC7s+bkJd5t5Cppa2lpcShSGUJUpBCkhSwtRAqBUgaQw7CeDEi2teSUNBauzFTpqadYgABuWyU2rKJOqZptJ6UugH0QzCqr0kd/HHtmHoWlyXSu1pRR1VNNqPSXQYZI+Vkeh3170ANVnwR0D0RIjPgjoHoiQBovj+jufZuerVA7wi/IWp9zY9dMwRXx/R3Ps1+rVA9wifIWp9zY9dNQB86rjSqNqo1KgC2mLdBlXGAk1deQ6omlEhtDqQkDbUuk15hFIYyMYmACa5EgXi6kGmSf8A50gtnbpYWSFZkDWKHgzQavkbA36XIYkpNY1BK9DHMni3TxHDe2lvM9JhMFTrYWM7a63+bFLaN3AlNRHbaTakNoxaqbSrqUkEdcOaTuuzQ1ANYX/CbYyZdWJBohSdNyhlRPNF7EUnkUn3kXZ2Np0K1WKdoyX1Xpg5YhK8SQCTXIU1yEFdhXnMg28C2VOKKMCdATiwkHdkrWBG7Lxam2xj+UQQa7FKTUeeL+8rBWynixRxDqOUQQSTXLoqIqU2qVdO+m/9l7E9qrEYGVFx01W+t90/DYKrNtxqYeONGF3KqTqmume2CB18IG6B6x7MIIdWPyigMR6BSLG028aNdY6ccTTqXdN3PEUI8aWWGtjGQtsOOFI2GOu0XkYFJX4KgQegihjisqyENpxp1Ov/AOxutFhDlEq27OmI44qErrZ7FinhKlSq4QWxeydppcaS5UZ9Weh88IDhUsri59xxNOLfJcRTqC67jjxf2YbV67IeZQiWYSeUoJBBAFCqqlKOyKG811kvsMpVmWVDM15STk4DTPOgPUIqUZZXLNpa9upbxVWEYwTauxO2bMLQ6hbfyiVBSaAmpSagUGZ0htXIt5SJUNOpKFNqIAII5CzjTrnliI6o3m7TLbam0pCRSpIFCRzkR3WddVlhhBTkMs1HWpJzJypmcoyu0Ixtdb6IixGGyOMb3cnp68zokrviYWZh5xSRQcWlJFU00WSQQN4Tz1yjmatVKVzCJh7GlCkqNQMTwp+TLh1WARQI0rmdkdFt2zxDJWpaSCaIAIII6hmeisKRy01Ozdc+WcO2mennoeqI03KTaPQ0cTJONKb00iulrbO2nphDaN5Hpl7i21YMyhG0qQaVDm8U3aUO8wcys+EoAOwADqFIG7IsMS4UvwnqcpRpkQM0I+anzmLSwUVSXHNKdQrnFvC0qtSfw7d5w+0sdTlHLbRPTrf1/dzrbm1PkpQNI1Ku46Ea0zHZWN1lT6eNcU2MiYtXrYIFKV3x5zF4zE0MU4Q+JHSp4HNh1OK5XAu9N4S0EMJBxEQIWhaJbUCvqpzxf3qnUKXxtM06VigmmRMIDh13R6WnNVIKc1Z9xyeHKLyxOX33U6TTSOeaWVS7hNclpFesxY2dKZqoKbI7LZlkN2etIHKxoz3ipjaOV6GJRklmYHNaRHG6xGtIzgRmpDGYqcttNac0EFv3qcmQEAcWymmFANa0ySVnaRu0EUkSAL64H60kvvLX+sQzVCj0j+y7692FpwffrSS+8N/6xDOmRSZk/wBl317sANBnwR0D0RIjPgjoHoiQBovj+jufZr9WqB/hFH5C0/uTPrpqCC+X6O59mv8A0Kii4RR+b2l9ya8z0zAHzguNRjauNSoAwMYmMjGJgAu4P57iuPJNAeLB6yukHsxaiFIGHJULO7dPc83Xc36XIpWLfeQQQ4TTYcxHNxOBdSXEi7N/wd/s7tSlRgqdWL02a6959C3anSpJxqFRAnwozSFKQ2oFQpiBB3kilOqFrNX2mFCiVcXvwk5x0WbbbjyFJdVjKTUEiqqHKld1fTFuMpxwyjU/UhSWHrdot07ZZJ8ra2Cy7djILhmiiqQnkIOeaBnn1RZSlplxxAUylKFqyNFHlAVFCTE4PJwvHiKgBulQaZhecV9pOGWmFhxRPEqI6k1AoNg0yinXUmnpurFrCUaVSGMpNapNrws0Hk/PpQ1XmgXdmHFpNF5RXWtedpxk0VoIBXL3uYCgZV2xV7PoSpqyjZX1PLdiulTjVdXSVvh8RnyForSjNVQDQxYiZS4pCgoZHPPdCesq8bgBQo1Bgjund6efq42qjedMVc+iOyqLrOUHHTkXcHiuBWz96sxv3in8L9cSKJBJ5XKGWJIw0qK5bY4ZSZC0ZiNPCIh1Ejx5QMbbLQVQglJUtsOUJz2ntgHY4T0MtoAbxqJAVnSg2nnPNFHG0Ks3HIlp97/g4eKpznP4VdFvfG0gyc65JqE6A1HJJO7mHPHFM2st4Nox4AlIIzoCtSU0BVs11OQzgzTMs2m2yhoocJQM8NeLoOXjBFUUOVDSuzWAS8diqlZniX3EpCuVxlapKCTmAc65EU39sRQo5oppXd/rs/rzPbdkVqF+JXaThHS/fbV+S5dehzzay4yQ4CC2vUZBWRBqNCoUpXWhz0Ect1GGxOY1UKW0FdTv0HnIjovZeBhaUsy55KR4ROprUlR2k5k9MDtlzvFOqKvAUnCroJBNN5yyi5w3SqXeu38FTEYt4xOMPhTv5X5hc/bgLuGtEKOe6Le8Fpoblk8WRsr0bYB7VUkNocSQUrChTalSSMjvyIIPTujKz5Ja0flFZbBzR1KWIjCLV9HszkvsyvUqcNQcpR3t90MSy35dLAONIUeffHFbN5mWBkoKJ3UMLe3kFS0MtnXPsjmnbJWyipUDv3xzq2DoSxirRn5W0udKjPGww04yp6R0b7i/tR9EysJGmp3dEapZ4cpCRyUfyyyi1s0shlvCK5Cppu9MWd1rvpemFhNMOpy2mLSs58NO5FLBV40FinGy/g9mLNZYkQpRAWqh561jkv7Z6RZaXEDLGjPmNYu7e4NCtXGKfJSmlEbIx4TRhsgoCaBK2u2qhF6dK0W0uRyM09EJdrSM4wa0jOOeSEiRIkAEPB2P+qyX3hHphnzv6VJ/suetdhY8HI/6rJfbo9MM+eH51J/sK9Y4YAZrPgjoHoiRGvBHQPREgDTe9NZdz7Nfq1RRcISqy1oc8ig9Qdf9sFdtS2Nsp2KBSehQKf5wHWh+ccUyrIzkg8yPt2sBwnrUv8JgD51XGlUb3myklKhRQJBB1BBoQeuNCoAxjExlGJgC8u+Ky80BuR/9kDZl1fNPYYO+DVrEXxQHJGvS5BsJBHi0+aOfXx6pTyW2K062WTVhGcSdx7IvLmymKbbStt1baqhwNpJXgoakCmw0MNf3tT4tHYIzVK0QtKAEcYnApSRRWAkEpB2VpQ81RES7RhLSSsvXQ3pYx05qaWwFy06w1ajbkuHEMcjECrErkVCsVN5oaQVX7t5E5LrShLaGXlAId4ol5x1NCoDTdhNaZVjdLWWE1JCVEnXCE0AAAGUV8zdXGVAuu8UpZUpoKGDlAUAyqnQ1oc67ILtCnez5bMn9vXEnJK2ZW3b8/HxFC6wRpUgioNCB/daxr4o7j2Q8pWxmm0hCW0gDTKvPmT0xt9wI8UnsEY96R/1KntHchJ2dJLWtKUpJKiAMjmSaCPpm7divMSiQ22CUpGRVgx6YsFQdlaFVKmmgzgRVZqVjCkBtRFEqAzSo+CrLZWleasXPw5nFSgmC2w3WtGFLWHHKEA4FkZKUUqwihBxCucdDCY+Mot25+vmSU5yndrQF7/LnBxpK3HpaZSW0IIw+5VN0cKHUgUBFPCrmNuVIVqmTmKUOng6Z9GsMmznzPiYemHXSJkisu2vChKGlUaSoqyxhSBs0xak5XZaQSTgRmanIbTWK2JxdLD1XCKuvwJ1XFK+4tLgXqMjOtqVyUcYA4c/AUMLgoNUkUNDoUgiMr4Xhcnppx4hQTUhpPzWweSOk6nnMX9v3eSiYbdYQtbilBwjAFsZBQIrTkrTQVSa1qCKwUFpsaoAO5QAUOYg7RGJdoQjBSSumKryWfeJ1TZ3GN8lIlw4TUZVBocobZDfzUdgjku9Y7L7k0DLFa+OAQ6plx5hCcA5CkNuIKDU1xZ5RPhcRHFNxWllf6maGJy1E7eV9+gupGReQotlsuN1oaZgaGv1emCy3rLbly2kTLeF0Ym1KVhNBQELqKJIOWtDBBO3Yl22yUNMuziWXFBlJXxDgRNOJcdRysThQhIo3UZZ5mB280vKNy7bjDZK52jqQupEs0k4VtNmvKJdCuUf8IHTF6ODUnq/p+TqQ7Yr0bqCVtVrvZ9dHpy8SonrCLD7SirEpYJ6tlOaKu3HFFzCfBABp6YbtlWIhyTSpLCUrDayp15twoURiOJDyXAEZCgBTqI65yzrPExxC0tpJcaCQhLqVJBAUsPOKOAg1pydKxSzfFmSR1XTkqMsNnk3dttK+2mvxee4JLu2gSCXUrzAByOoi24NZQJU6oqIGQqeYGLeXsZqgVMy7TDgD54sYygtNtpUhxTYUSaKqKgivZGtcnLomQ2JdpSVSynSujnFqWltSwWOWeQcga7QdIlhVyVFNL18jbLnwzw825PdStyXJfFZ7cgUvBaxNpMMMPrW2VjGK1FQa0i14Vx/0xzP/ANRr0qiys6yW35UOIlm2llC1KW404WjSpBadDnIAAoAoHMbdoDfKYJs8AqURiRkeuJZdoL9Ml+rY4uLwyw6/Vd3ta1u/q+4XrWkZxg1pGcalMkSJEgAl4NE1taS+2B7AowzZw1mpSnzFf61iATgflK2kl5Xycq24+s7BRBSnzq80H1gsl6Ylz82XSo9LpxjzDzwAymk8kdA9ESOxEtkOiJAHQ+3iSRC1v3JONoS40aLYe49o7lKycR0KNFU21UIZ0cFp2Wl1JCgCCKEHQg7DACUvNcwWqgz9ngccf0qWqAoO0zU3XI11pt1GdRCun5FxlRQ6hbahqlaSk9igId8zc+bkXy/IrrXwm1mhUmtcOI8lfXQ+eLIcIywMM5IuCm9orT1EAiAPnPGN47Y8KhvHbH0YL82af+0R1y6e7Hqr5Wb9Eb8gnuwAk7m3iZlS6XSrlhNMIB8EqrXMb4J08JEp/wCX8H/KGF8MbN+hs/u47kefC2zfobP7sO5FSrgoVZZpXuQypRk7sABwkyn/AJfwDvR78ZUn/wCX8A70MAXpsz6Gz+7J7keG9dlfRJf92T3Ii93UuvryMcCAAfGVJ7nfwDvR78ZUnud/AO9B78KrJ+iS/wC7J7ke/CiyPost+7p7kPd1Lr68hwIAF8ZUlud/AO9Hnxlye5zyae9B4q9NkfRZb93T/TjE3osj6LKfu6f6cPd1Lr68hwIgKeEiS+a75NPejEcIshTwHOji00zNTli3wcm9Nk/RZP8Adx/TjMXmsf6NJ+QT/TjPu6mub+f4M8GIBI4QbPHgoWOhlA9CoyHCNI/Nc8mO9B8LxWN4iS8gnuRn7/2L4mS8ijuQ930+vzMcCIAjhLktzvkx3o8+MmR3O+THeg/9/rE8TI+RR3I9FuWJ4mQ8k33Ie76fX5jgRAA8Jclud8mnvRxPXysxaipTSypWZPF5k8/Lhme/dieKkPJN92ILasPxUh5JvuxvDBRg7xlJeDHAiLD4V2V4hXkx5uXGIvTZXiVeT/5w0xa1h+KkPJN92Mhadh+KkPJN92JOA/8Aef7mZ4ERZfDmzvmL8mO/HhvxZ/zF+THfhoGfsPxUh5JvuRj76WF4qR8ijuRF7FDvfzLPFq/9Jfuf9iw+HFn/ADHPJjvxDfmQ+Yv8H/KGh752F4qR8gjuR4bUsPxUl5BPch7FDvfzHEq/9Jfuf9ivN97P+Y5+D/lFVeq9ss/LFpoLriSRVIAomu2phye+9h+Jk/3cf04x9+LD8RKfuw/pxtHCQi1LXTqaSc52zybt3ts+bmjlGVY+jvfuw/o8r+6juRibfsMf9tL9UqjuxbB851iysO7sxOOBEsyt1R2pHJTzqX4KR0mHTaF8bMR+jyEuVfOUw2kdQAqe0RTTt7rQmxxLADbZywtJCEgf5antIEAV01JIkJf3tYcSuZmCDOvpzQ2hGfEoOpSnMk7TXaaBpXJsPDVwpoVUoDqlCUhKE9SUjrrAzcbgvLa+OfOJeoGwUNQTvNc6aDI5mhDVlpcIFBAG2kSPYkASJEiQBrcZCtRHI5ZKToSOgx3xIAG566PGGvGug/VdWnU12GNMvc5SFVD755i6sjrBMFUSAKdNhmnyiu2NC7tqJJ41wV3OLA6hXKL+JAA+m7qwflnOtZPpMdSLFVtcV2xbRIAqzY5+ertjlcu8s6OufjV7YvokADvwcX453yivbHW3Yyhq4vti3iQBWe9B8Yrtjz3nPz1dsWkSAKv3mPz1dsT3m+urti0iQBVe8n1jHhsEfOMW0SAKn3gHzj2x57wJ3nti3iQBUfB8fOMeG7w3mLiJAFN8HU74nwcTvi5iQBS/BtO8xPg2neYuokAD05cxl1OFxIWkGtFZiu+kcQ4NJPxLf4RBdEgARPBpJ+Jb/CI1HgqkTrLt/hgziQALSvBzJt+Cw0P8ifZF1LWK2jwUgdVI74kAYpQBpGUSJAEiRIkAf//Z"/>
          <p:cNvSpPr>
            <a:spLocks noChangeAspect="1" noChangeArrowheads="1"/>
          </p:cNvSpPr>
          <p:nvPr/>
        </p:nvSpPr>
        <p:spPr bwMode="auto">
          <a:xfrm>
            <a:off x="155575" y="-792163"/>
            <a:ext cx="27622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446088" y="447675"/>
            <a:ext cx="8712200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hat does ‘Good’ look like?</a:t>
            </a:r>
            <a: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/>
            </a:r>
            <a:b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GB" sz="2300" dirty="0">
                <a:solidFill>
                  <a:schemeClr val="tx2"/>
                </a:solidFill>
                <a:latin typeface="Rubrik Light" pitchFamily="50" charset="0"/>
                <a:ea typeface="+mj-ea"/>
                <a:cs typeface="+mj-cs"/>
              </a:rPr>
              <a:t>How do you benchmark QoE?</a:t>
            </a:r>
          </a:p>
        </p:txBody>
      </p:sp>
      <p:sp>
        <p:nvSpPr>
          <p:cNvPr id="13" name="Rectangle 17"/>
          <p:cNvSpPr>
            <a:spLocks noChangeArrowheads="1"/>
          </p:cNvSpPr>
          <p:nvPr/>
        </p:nvSpPr>
        <p:spPr bwMode="auto">
          <a:xfrm>
            <a:off x="928688" y="1411288"/>
            <a:ext cx="7929562" cy="323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endParaRPr lang="en-GB" sz="1200" b="1" dirty="0">
              <a:latin typeface="+mn-lt"/>
            </a:endParaRPr>
          </a:p>
          <a:p>
            <a:pPr>
              <a:defRPr/>
            </a:pPr>
            <a:endParaRPr lang="en-GB" sz="12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200" b="1" dirty="0">
                <a:latin typeface="+mn-lt"/>
              </a:rPr>
              <a:t> Short form or long form</a:t>
            </a:r>
          </a:p>
          <a:p>
            <a:pPr>
              <a:buFont typeface="Arial" pitchFamily="34" charset="0"/>
              <a:buChar char="•"/>
              <a:defRPr/>
            </a:pPr>
            <a:endParaRPr lang="en-GB" sz="12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200" b="1" dirty="0">
                <a:latin typeface="+mn-lt"/>
              </a:rPr>
              <a:t> Live, catch up or VOD</a:t>
            </a:r>
          </a:p>
          <a:p>
            <a:pPr>
              <a:buFont typeface="Arial" pitchFamily="34" charset="0"/>
              <a:buChar char="•"/>
              <a:defRPr/>
            </a:pPr>
            <a:endParaRPr lang="en-GB" sz="12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200" b="1" dirty="0">
                <a:latin typeface="+mn-lt"/>
              </a:rPr>
              <a:t> Purchased or free</a:t>
            </a:r>
          </a:p>
          <a:p>
            <a:pPr>
              <a:buFont typeface="Arial" pitchFamily="34" charset="0"/>
              <a:buChar char="•"/>
              <a:defRPr/>
            </a:pPr>
            <a:endParaRPr lang="en-GB" sz="12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200" b="1" dirty="0">
                <a:latin typeface="+mn-lt"/>
              </a:rPr>
              <a:t> Device type</a:t>
            </a:r>
          </a:p>
          <a:p>
            <a:pPr>
              <a:buFont typeface="Arial" pitchFamily="34" charset="0"/>
              <a:buChar char="•"/>
              <a:defRPr/>
            </a:pPr>
            <a:endParaRPr lang="en-GB" sz="1200" b="1" dirty="0">
              <a:latin typeface="+mn-lt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200" b="1" dirty="0">
                <a:latin typeface="Arial" pitchFamily="34" charset="0"/>
              </a:rPr>
              <a:t> Buffering or adaptive streaming</a:t>
            </a:r>
          </a:p>
          <a:p>
            <a:pPr>
              <a:buFont typeface="Arial" pitchFamily="34" charset="0"/>
              <a:buChar char="•"/>
              <a:defRPr/>
            </a:pPr>
            <a:endParaRPr lang="en-GB" sz="1200" b="1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200" b="1" dirty="0">
                <a:latin typeface="Arial" pitchFamily="34" charset="0"/>
              </a:rPr>
              <a:t> Amount of buffering or lower bit rate</a:t>
            </a:r>
          </a:p>
          <a:p>
            <a:pPr>
              <a:buFont typeface="Arial" pitchFamily="34" charset="0"/>
              <a:buChar char="•"/>
              <a:defRPr/>
            </a:pPr>
            <a:endParaRPr lang="en-GB" sz="1200" b="1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200" b="1" dirty="0">
                <a:latin typeface="Arial" pitchFamily="34" charset="0"/>
              </a:rPr>
              <a:t> Where in the video this occurs</a:t>
            </a:r>
          </a:p>
          <a:p>
            <a:pPr>
              <a:buFont typeface="Arial" pitchFamily="34" charset="0"/>
              <a:buChar char="•"/>
              <a:defRPr/>
            </a:pPr>
            <a:endParaRPr lang="en-GB" sz="1200" b="1" dirty="0">
              <a:latin typeface="Arial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GB" sz="1200" b="1" dirty="0">
                <a:latin typeface="Arial" pitchFamily="34" charset="0"/>
              </a:rPr>
              <a:t> Original quality of the video (SD, HD etc)</a:t>
            </a:r>
          </a:p>
        </p:txBody>
      </p:sp>
    </p:spTree>
    <p:extLst>
      <p:ext uri="{BB962C8B-B14F-4D97-AF65-F5344CB8AC3E}">
        <p14:creationId xmlns:p14="http://schemas.microsoft.com/office/powerpoint/2010/main" val="24842759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8429625" y="357188"/>
            <a:ext cx="285750" cy="214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286750" y="1285875"/>
            <a:ext cx="500063" cy="2857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9572" name="AutoShape 14" descr="https://www.linx.net/images/linx-logos/linx-logo2.jpg"/>
          <p:cNvSpPr>
            <a:spLocks noChangeAspect="1" noChangeArrowheads="1"/>
          </p:cNvSpPr>
          <p:nvPr/>
        </p:nvSpPr>
        <p:spPr bwMode="auto">
          <a:xfrm>
            <a:off x="155575" y="-228600"/>
            <a:ext cx="1695450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en-GB" altLang="en-US" sz="1800" b="0">
              <a:solidFill>
                <a:srgbClr val="6D6E71"/>
              </a:solidFill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285750" y="393700"/>
            <a:ext cx="8501063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>Video Codec Evolution </a:t>
            </a:r>
            <a: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/>
            </a:r>
            <a:b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</a:br>
            <a:r>
              <a:rPr lang="en-GB" sz="2400" dirty="0">
                <a:solidFill>
                  <a:srgbClr val="34A1A0"/>
                </a:solidFill>
                <a:latin typeface="Rubrik Light" pitchFamily="50" charset="0"/>
                <a:ea typeface="+mj-ea"/>
                <a:cs typeface="+mj-cs"/>
              </a:rPr>
              <a:t>How the evolution in video codec’s can reduce bandwidth</a:t>
            </a:r>
          </a:p>
        </p:txBody>
      </p:sp>
      <p:sp>
        <p:nvSpPr>
          <p:cNvPr id="109574" name="Rectangle 17"/>
          <p:cNvSpPr>
            <a:spLocks noChangeArrowheads="1"/>
          </p:cNvSpPr>
          <p:nvPr/>
        </p:nvSpPr>
        <p:spPr bwMode="auto">
          <a:xfrm>
            <a:off x="368780" y="1442779"/>
            <a:ext cx="5194300" cy="1061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Reduced bit </a:t>
            </a:r>
            <a:r>
              <a:rPr lang="en-GB" altLang="en-US" sz="1400" b="0" dirty="0">
                <a:solidFill>
                  <a:srgbClr val="6D6E71"/>
                </a:solidFill>
              </a:rPr>
              <a:t>rate and file </a:t>
            </a:r>
            <a:r>
              <a:rPr lang="en-GB" altLang="en-US" sz="1400" b="0" dirty="0" smtClean="0">
                <a:solidFill>
                  <a:srgbClr val="6D6E71"/>
                </a:solidFill>
              </a:rPr>
              <a:t>size but similar resolution</a:t>
            </a:r>
          </a:p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Reduces </a:t>
            </a:r>
            <a:r>
              <a:rPr lang="en-GB" altLang="en-US" sz="1400" b="0" dirty="0">
                <a:solidFill>
                  <a:srgbClr val="6D6E71"/>
                </a:solidFill>
              </a:rPr>
              <a:t>network </a:t>
            </a:r>
            <a:r>
              <a:rPr lang="en-GB" altLang="en-US" sz="1400" b="0" dirty="0" smtClean="0">
                <a:solidFill>
                  <a:srgbClr val="6D6E71"/>
                </a:solidFill>
              </a:rPr>
              <a:t>traffic</a:t>
            </a:r>
          </a:p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Improved User Experience with lower bandwidth</a:t>
            </a:r>
            <a:endParaRPr lang="en-GB" altLang="en-US" sz="1400" b="0" dirty="0">
              <a:solidFill>
                <a:srgbClr val="6D6E71"/>
              </a:solidFill>
            </a:endParaRPr>
          </a:p>
        </p:txBody>
      </p:sp>
      <p:sp>
        <p:nvSpPr>
          <p:cNvPr id="109575" name="TextBox 3"/>
          <p:cNvSpPr txBox="1">
            <a:spLocks noChangeArrowheads="1"/>
          </p:cNvSpPr>
          <p:nvPr/>
        </p:nvSpPr>
        <p:spPr bwMode="auto">
          <a:xfrm>
            <a:off x="368780" y="2615377"/>
            <a:ext cx="3910085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Font typeface="Arial" charset="0"/>
              <a:buChar char="•"/>
            </a:pPr>
            <a:endParaRPr lang="en-GB" altLang="en-US" sz="1000" b="0" dirty="0" smtClean="0">
              <a:solidFill>
                <a:srgbClr val="6D6E71"/>
              </a:solidFill>
            </a:endParaRP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Font typeface="Arial" charset="0"/>
              <a:buChar char="•"/>
            </a:pPr>
            <a:r>
              <a:rPr lang="en-GB" altLang="en-US" sz="1000" b="0" dirty="0" smtClean="0">
                <a:solidFill>
                  <a:srgbClr val="6D6E71"/>
                </a:solidFill>
              </a:rPr>
              <a:t> </a:t>
            </a:r>
            <a:r>
              <a:rPr lang="en-GB" altLang="en-US" sz="1200" b="0" dirty="0">
                <a:solidFill>
                  <a:srgbClr val="6D6E71"/>
                </a:solidFill>
              </a:rPr>
              <a:t>High Efficiency Video Coding (HEVC) has nearly </a:t>
            </a:r>
            <a:r>
              <a:rPr lang="en-GB" altLang="en-US" sz="1200" b="0" dirty="0" smtClean="0">
                <a:solidFill>
                  <a:srgbClr val="6D6E71"/>
                </a:solidFill>
              </a:rPr>
              <a:t>halved the </a:t>
            </a:r>
            <a:r>
              <a:rPr lang="en-GB" altLang="en-US" sz="1200" b="0" dirty="0">
                <a:solidFill>
                  <a:srgbClr val="6D6E71"/>
                </a:solidFill>
              </a:rPr>
              <a:t>bit rate and file size of the previous HD standard – </a:t>
            </a:r>
            <a:r>
              <a:rPr lang="en-GB" altLang="en-US" sz="1200" b="0" dirty="0" smtClean="0">
                <a:solidFill>
                  <a:srgbClr val="6D6E71"/>
                </a:solidFill>
              </a:rPr>
              <a:t>Advanced </a:t>
            </a:r>
            <a:r>
              <a:rPr lang="en-GB" altLang="en-US" sz="1200" b="0" dirty="0">
                <a:solidFill>
                  <a:srgbClr val="6D6E71"/>
                </a:solidFill>
              </a:rPr>
              <a:t>Video Coding (AVC) </a:t>
            </a: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en-GB" altLang="en-US" sz="1200" b="0" dirty="0">
              <a:solidFill>
                <a:srgbClr val="6D6E71"/>
              </a:solidFill>
            </a:endParaRP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Font typeface="Arial" charset="0"/>
              <a:buChar char="•"/>
            </a:pPr>
            <a:r>
              <a:rPr lang="en-GB" altLang="en-US" sz="1200" b="0" dirty="0">
                <a:solidFill>
                  <a:srgbClr val="6D6E71"/>
                </a:solidFill>
              </a:rPr>
              <a:t> Combining the latest compression technology with </a:t>
            </a:r>
            <a:r>
              <a:rPr lang="en-GB" altLang="en-US" sz="1200" b="0" dirty="0" smtClean="0">
                <a:solidFill>
                  <a:srgbClr val="6D6E71"/>
                </a:solidFill>
              </a:rPr>
              <a:t>Adaptive </a:t>
            </a:r>
            <a:r>
              <a:rPr lang="en-GB" altLang="en-US" sz="1200" b="0" dirty="0">
                <a:solidFill>
                  <a:srgbClr val="6D6E71"/>
                </a:solidFill>
              </a:rPr>
              <a:t>Bit Rate (ABR) technology could provide </a:t>
            </a:r>
            <a:r>
              <a:rPr lang="en-GB" altLang="en-US" sz="1200" b="0" dirty="0" smtClean="0">
                <a:solidFill>
                  <a:srgbClr val="6D6E71"/>
                </a:solidFill>
              </a:rPr>
              <a:t>a reduction </a:t>
            </a:r>
            <a:r>
              <a:rPr lang="en-GB" altLang="en-US" sz="1200" b="0" dirty="0">
                <a:solidFill>
                  <a:srgbClr val="6D6E71"/>
                </a:solidFill>
              </a:rPr>
              <a:t>in traffic whilst maintaining a higher </a:t>
            </a:r>
            <a:r>
              <a:rPr lang="en-GB" altLang="en-US" sz="1200" b="0" dirty="0" err="1">
                <a:solidFill>
                  <a:srgbClr val="6D6E71"/>
                </a:solidFill>
              </a:rPr>
              <a:t>QoE</a:t>
            </a:r>
            <a:endParaRPr lang="en-GB" altLang="en-US" sz="1200" b="0" dirty="0">
              <a:solidFill>
                <a:srgbClr val="6D6E71"/>
              </a:solidFill>
            </a:endParaRP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Font typeface="Arial" charset="0"/>
              <a:buChar char="•"/>
            </a:pPr>
            <a:endParaRPr lang="en-GB" altLang="en-US" sz="1200" b="0" dirty="0">
              <a:solidFill>
                <a:srgbClr val="6D6E71"/>
              </a:solidFill>
            </a:endParaRP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Font typeface="Arial" charset="0"/>
              <a:buChar char="•"/>
            </a:pPr>
            <a:r>
              <a:rPr lang="en-GB" altLang="en-US" sz="1200" b="0" dirty="0">
                <a:solidFill>
                  <a:srgbClr val="6D6E71"/>
                </a:solidFill>
              </a:rPr>
              <a:t> HEVC is one of the key elements in the move towards </a:t>
            </a:r>
            <a:r>
              <a:rPr lang="en-GB" altLang="en-US" sz="1200" b="0" dirty="0" smtClean="0">
                <a:solidFill>
                  <a:srgbClr val="6D6E71"/>
                </a:solidFill>
              </a:rPr>
              <a:t>Ultra </a:t>
            </a:r>
            <a:r>
              <a:rPr lang="en-GB" altLang="en-US" sz="1200" b="0" dirty="0">
                <a:solidFill>
                  <a:srgbClr val="6D6E71"/>
                </a:solidFill>
              </a:rPr>
              <a:t>High Definition TV (UHDTV) which is likely to </a:t>
            </a:r>
            <a:r>
              <a:rPr lang="en-GB" altLang="en-US" sz="1200" b="0" dirty="0" smtClean="0">
                <a:solidFill>
                  <a:srgbClr val="6D6E71"/>
                </a:solidFill>
              </a:rPr>
              <a:t>push </a:t>
            </a:r>
            <a:r>
              <a:rPr lang="en-GB" altLang="en-US" sz="1200" b="0" dirty="0">
                <a:solidFill>
                  <a:srgbClr val="6D6E71"/>
                </a:solidFill>
              </a:rPr>
              <a:t>the bit rate back up to AVC </a:t>
            </a:r>
            <a:r>
              <a:rPr lang="en-GB" altLang="en-US" sz="1200" b="0" dirty="0" smtClean="0">
                <a:solidFill>
                  <a:srgbClr val="6D6E71"/>
                </a:solidFill>
              </a:rPr>
              <a:t>levels</a:t>
            </a:r>
            <a:r>
              <a:rPr lang="en-GB" altLang="en-US" sz="1400" b="0" dirty="0" smtClean="0">
                <a:solidFill>
                  <a:srgbClr val="FF0000"/>
                </a:solidFill>
                <a:latin typeface="Helvetica 55 Roman" pitchFamily="34" charset="0"/>
              </a:rPr>
              <a:t> </a:t>
            </a:r>
            <a:endParaRPr lang="en-GB" altLang="en-US" sz="1400" b="0" dirty="0">
              <a:solidFill>
                <a:srgbClr val="FF0000"/>
              </a:solidFill>
              <a:latin typeface="Helvetica 55 Roman" pitchFamily="34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5889625" y="1571625"/>
            <a:ext cx="2786063" cy="1663700"/>
          </a:xfrm>
          <a:prstGeom prst="roundRect">
            <a:avLst>
              <a:gd name="adj" fmla="val 5347"/>
            </a:avLst>
          </a:prstGeom>
          <a:noFill/>
          <a:ln w="12700">
            <a:solidFill>
              <a:srgbClr val="9F9FA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6D6E71"/>
              </a:solidFill>
            </a:endParaRPr>
          </a:p>
        </p:txBody>
      </p:sp>
      <p:pic>
        <p:nvPicPr>
          <p:cNvPr id="109577" name="Picture 2" descr="Evolution of video compression technolog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0750" y="1735138"/>
            <a:ext cx="2562225" cy="1395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9578" name="TextBox 3"/>
          <p:cNvSpPr txBox="1">
            <a:spLocks noChangeArrowheads="1"/>
          </p:cNvSpPr>
          <p:nvPr/>
        </p:nvSpPr>
        <p:spPr bwMode="auto">
          <a:xfrm>
            <a:off x="5243513" y="3744913"/>
            <a:ext cx="20097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en-GB" altLang="en-US" sz="800" b="0">
                <a:solidFill>
                  <a:srgbClr val="6D6E71"/>
                </a:solidFill>
                <a:latin typeface="Helvetica 55 Roman" pitchFamily="34" charset="0"/>
              </a:rPr>
              <a:t>HEVC (H.265) Video</a:t>
            </a:r>
          </a:p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en-GB" altLang="en-US" sz="800" b="0">
                <a:solidFill>
                  <a:srgbClr val="6D6E71"/>
                </a:solidFill>
                <a:latin typeface="Helvetica 55 Roman" pitchFamily="34" charset="0"/>
              </a:rPr>
              <a:t>PSNR – 39.72dB</a:t>
            </a:r>
          </a:p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en-GB" altLang="en-US" sz="800" b="0">
                <a:solidFill>
                  <a:srgbClr val="6D6E71"/>
                </a:solidFill>
                <a:latin typeface="Helvetica 55 Roman" pitchFamily="34" charset="0"/>
              </a:rPr>
              <a:t>Bit Rate 610kbps</a:t>
            </a:r>
          </a:p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en-GB" altLang="en-US" sz="800" b="0">
                <a:solidFill>
                  <a:srgbClr val="6D6E71"/>
                </a:solidFill>
                <a:latin typeface="Helvetica 55 Roman" pitchFamily="34" charset="0"/>
              </a:rPr>
              <a:t>File Size 3.10MB</a:t>
            </a:r>
          </a:p>
        </p:txBody>
      </p:sp>
      <p:sp>
        <p:nvSpPr>
          <p:cNvPr id="109579" name="TextBox 3"/>
          <p:cNvSpPr txBox="1">
            <a:spLocks noChangeArrowheads="1"/>
          </p:cNvSpPr>
          <p:nvPr/>
        </p:nvSpPr>
        <p:spPr bwMode="auto">
          <a:xfrm>
            <a:off x="6884988" y="3754438"/>
            <a:ext cx="20097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en-GB" altLang="en-US" sz="800" b="0">
                <a:solidFill>
                  <a:srgbClr val="6D6E71"/>
                </a:solidFill>
                <a:latin typeface="Helvetica 55 Roman" pitchFamily="34" charset="0"/>
              </a:rPr>
              <a:t>AVC (H.264) Video</a:t>
            </a:r>
          </a:p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en-GB" altLang="en-US" sz="800" b="0">
                <a:solidFill>
                  <a:srgbClr val="6D6E71"/>
                </a:solidFill>
                <a:latin typeface="Helvetica 55 Roman" pitchFamily="34" charset="0"/>
              </a:rPr>
              <a:t>PSNR – 39.65dB</a:t>
            </a:r>
          </a:p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en-GB" altLang="en-US" sz="800" b="0">
                <a:solidFill>
                  <a:srgbClr val="6D6E71"/>
                </a:solidFill>
                <a:latin typeface="Helvetica 55 Roman" pitchFamily="34" charset="0"/>
              </a:rPr>
              <a:t>Bit Rate 1183kbps</a:t>
            </a:r>
          </a:p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r>
              <a:rPr lang="en-GB" altLang="en-US" sz="800" b="0">
                <a:solidFill>
                  <a:srgbClr val="6D6E71"/>
                </a:solidFill>
                <a:latin typeface="Helvetica 55 Roman" pitchFamily="34" charset="0"/>
              </a:rPr>
              <a:t>File Size  6.01MB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5480050" y="3683000"/>
            <a:ext cx="3286125" cy="1785938"/>
          </a:xfrm>
          <a:prstGeom prst="roundRect">
            <a:avLst>
              <a:gd name="adj" fmla="val 5347"/>
            </a:avLst>
          </a:prstGeom>
          <a:noFill/>
          <a:ln w="12700">
            <a:solidFill>
              <a:srgbClr val="9F9FA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6D6E71"/>
              </a:solidFill>
            </a:endParaRPr>
          </a:p>
        </p:txBody>
      </p:sp>
      <p:pic>
        <p:nvPicPr>
          <p:cNvPr id="109581" name="Picture 16" descr="video formats codecs 200x107 Video File Container Formats, Compression and Codecs   Oh My!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8866" y="2462212"/>
            <a:ext cx="1285875" cy="66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582" name="Picture 11" descr="http://screencrave.com/wp-content/uploads/2012/10/transformers-dark-moon-rosie-huntington-whiteley-photo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1488" y="4357688"/>
            <a:ext cx="1544637" cy="1027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583" name="Picture 11" descr="http://screencrave.com/wp-content/uploads/2012/10/transformers-dark-moon-rosie-huntington-whiteley-photo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750" y="4357688"/>
            <a:ext cx="1546225" cy="1027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C61DFFD-F243-4281-B21B-DF3AB069E784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AutoShape 14" descr="https://www.linx.net/images/linx-logos/linx-logo2.jpg"/>
          <p:cNvSpPr>
            <a:spLocks noChangeAspect="1" noChangeArrowheads="1"/>
          </p:cNvSpPr>
          <p:nvPr/>
        </p:nvSpPr>
        <p:spPr bwMode="auto">
          <a:xfrm>
            <a:off x="155575" y="-228600"/>
            <a:ext cx="1695450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en-GB" altLang="en-US" sz="1800" b="0">
              <a:solidFill>
                <a:srgbClr val="6D6E7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429625" y="357188"/>
            <a:ext cx="285750" cy="214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286750" y="1463675"/>
            <a:ext cx="500063" cy="2857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85750" y="393700"/>
            <a:ext cx="8501063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>Adaptive Bit Rate Technologies</a:t>
            </a:r>
            <a: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/>
            </a:r>
            <a:b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</a:br>
            <a:r>
              <a:rPr lang="en-GB" sz="2400" dirty="0">
                <a:solidFill>
                  <a:srgbClr val="34A1A0"/>
                </a:solidFill>
                <a:latin typeface="Rubrik Light" pitchFamily="50" charset="0"/>
                <a:ea typeface="+mj-ea"/>
                <a:cs typeface="+mj-cs"/>
              </a:rPr>
              <a:t>Using Adaptive Bit Rate (ABR) to manage video traffic</a:t>
            </a:r>
          </a:p>
        </p:txBody>
      </p:sp>
      <p:sp>
        <p:nvSpPr>
          <p:cNvPr id="18" name="TextBox 3"/>
          <p:cNvSpPr txBox="1">
            <a:spLocks noChangeArrowheads="1"/>
          </p:cNvSpPr>
          <p:nvPr/>
        </p:nvSpPr>
        <p:spPr bwMode="auto">
          <a:xfrm>
            <a:off x="304800" y="1470025"/>
            <a:ext cx="4767263" cy="36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b="1" dirty="0" smtClean="0">
                <a:solidFill>
                  <a:srgbClr val="6D6E71"/>
                </a:solidFill>
                <a:latin typeface="Rubrik Regular"/>
              </a:rPr>
              <a:t>Historically, mobile </a:t>
            </a:r>
            <a:r>
              <a:rPr lang="en-GB" sz="1200" b="1" dirty="0">
                <a:solidFill>
                  <a:srgbClr val="6D6E71"/>
                </a:solidFill>
                <a:latin typeface="Rubrik Regular"/>
              </a:rPr>
              <a:t>video streamed at a fixed </a:t>
            </a:r>
            <a:r>
              <a:rPr lang="en-GB" sz="1200" b="1" dirty="0" smtClean="0">
                <a:solidFill>
                  <a:srgbClr val="6D6E71"/>
                </a:solidFill>
                <a:latin typeface="Rubrik Regular"/>
              </a:rPr>
              <a:t>bitrat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Buffering </a:t>
            </a:r>
            <a:r>
              <a:rPr lang="en-GB" sz="1200" dirty="0">
                <a:solidFill>
                  <a:srgbClr val="6D6E71"/>
                </a:solidFill>
                <a:latin typeface="Rubrik Regular"/>
              </a:rPr>
              <a:t>and loss 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when connection </a:t>
            </a:r>
            <a:r>
              <a:rPr lang="en-GB" sz="1200" dirty="0">
                <a:solidFill>
                  <a:srgbClr val="6D6E71"/>
                </a:solidFill>
                <a:latin typeface="Rubrik Regular"/>
              </a:rPr>
              <a:t>speed 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too low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Users preferred </a:t>
            </a:r>
            <a:r>
              <a:rPr lang="en-GB" sz="1200" dirty="0">
                <a:solidFill>
                  <a:srgbClr val="6D6E71"/>
                </a:solidFill>
                <a:latin typeface="Rubrik Regular"/>
              </a:rPr>
              <a:t>lower 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resolution over buffering </a:t>
            </a:r>
          </a:p>
          <a:p>
            <a:pPr marL="363538" lvl="1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User could sometimes select video resolut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b="1" dirty="0" smtClean="0">
                <a:solidFill>
                  <a:srgbClr val="6D6E71"/>
                </a:solidFill>
                <a:latin typeface="Rubrik Regular"/>
              </a:rPr>
              <a:t>ABR tailors stream </a:t>
            </a:r>
            <a:r>
              <a:rPr lang="en-GB" sz="1200" b="1" dirty="0">
                <a:solidFill>
                  <a:srgbClr val="6D6E71"/>
                </a:solidFill>
                <a:latin typeface="Rubrik Regular"/>
              </a:rPr>
              <a:t>to the </a:t>
            </a:r>
            <a:r>
              <a:rPr lang="en-GB" sz="1200" b="1" dirty="0" smtClean="0">
                <a:solidFill>
                  <a:srgbClr val="6D6E71"/>
                </a:solidFill>
                <a:latin typeface="Rubrik Regular"/>
              </a:rPr>
              <a:t>device and available bandwidth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Connection </a:t>
            </a:r>
            <a:r>
              <a:rPr lang="en-GB" sz="1200" dirty="0">
                <a:solidFill>
                  <a:srgbClr val="6D6E71"/>
                </a:solidFill>
                <a:latin typeface="Rubrik Regular"/>
              </a:rPr>
              <a:t>speed 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changes, bitrate adapts in real time</a:t>
            </a:r>
          </a:p>
          <a:p>
            <a:pPr marL="363538" lvl="1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Reduces buffering</a:t>
            </a:r>
          </a:p>
          <a:p>
            <a:pPr marL="363538" lvl="1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6D6E71"/>
                </a:solidFill>
                <a:latin typeface="Rubrik Regular"/>
              </a:rPr>
              <a:t>B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etter </a:t>
            </a:r>
            <a:r>
              <a:rPr lang="en-GB" sz="1200" dirty="0">
                <a:solidFill>
                  <a:srgbClr val="6D6E71"/>
                </a:solidFill>
                <a:latin typeface="Rubrik Regular"/>
              </a:rPr>
              <a:t>user experience 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in congestion </a:t>
            </a:r>
            <a:r>
              <a:rPr lang="en-GB" sz="1200" dirty="0">
                <a:solidFill>
                  <a:srgbClr val="6D6E71"/>
                </a:solidFill>
                <a:latin typeface="Rubrik Regular"/>
              </a:rPr>
              <a:t>and at cell 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edge</a:t>
            </a:r>
          </a:p>
          <a:p>
            <a:pPr marL="363538" lvl="1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Minimises </a:t>
            </a:r>
            <a:r>
              <a:rPr lang="en-GB" sz="1200" dirty="0">
                <a:solidFill>
                  <a:srgbClr val="6D6E71"/>
                </a:solidFill>
                <a:latin typeface="Rubrik Regular"/>
              </a:rPr>
              <a:t>user 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interactio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GB" sz="1200" b="1" dirty="0" smtClean="0">
              <a:solidFill>
                <a:srgbClr val="6D6E71"/>
              </a:solidFill>
              <a:latin typeface="Rubrik Regular"/>
            </a:endParaRP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b="1" dirty="0" smtClean="0">
                <a:solidFill>
                  <a:srgbClr val="6D6E71"/>
                </a:solidFill>
                <a:latin typeface="Rubrik Regular"/>
              </a:rPr>
              <a:t>Left unmanaged, </a:t>
            </a:r>
            <a:r>
              <a:rPr lang="en-GB" sz="1200" b="1" dirty="0">
                <a:solidFill>
                  <a:srgbClr val="6D6E71"/>
                </a:solidFill>
                <a:latin typeface="Rubrik Regular"/>
              </a:rPr>
              <a:t>ABR can lead to unpredictable data </a:t>
            </a:r>
            <a:r>
              <a:rPr lang="en-GB" sz="1200" b="1" dirty="0" smtClean="0">
                <a:solidFill>
                  <a:srgbClr val="6D6E71"/>
                </a:solidFill>
                <a:latin typeface="Rubrik Regular"/>
              </a:rPr>
              <a:t>usage</a:t>
            </a:r>
          </a:p>
          <a:p>
            <a:pPr marL="363538" lvl="1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Content streams </a:t>
            </a:r>
            <a:r>
              <a:rPr lang="en-GB" sz="1200" dirty="0">
                <a:solidFill>
                  <a:srgbClr val="6D6E71"/>
                </a:solidFill>
                <a:latin typeface="Rubrik Regular"/>
              </a:rPr>
              <a:t>at the highest bit rate 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available</a:t>
            </a:r>
          </a:p>
          <a:p>
            <a:pPr marL="363538" lvl="1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HD uses significantly </a:t>
            </a:r>
            <a:r>
              <a:rPr lang="en-GB" sz="1200" dirty="0">
                <a:solidFill>
                  <a:srgbClr val="6D6E71"/>
                </a:solidFill>
                <a:latin typeface="Rubrik Regular"/>
              </a:rPr>
              <a:t>more data than </a:t>
            </a:r>
            <a:r>
              <a:rPr lang="en-GB" sz="1200" dirty="0" smtClean="0">
                <a:solidFill>
                  <a:srgbClr val="6D6E71"/>
                </a:solidFill>
                <a:latin typeface="Rubrik Regular"/>
              </a:rPr>
              <a:t>SD</a:t>
            </a:r>
            <a:endParaRPr lang="en-GB" sz="1200" b="1" dirty="0">
              <a:solidFill>
                <a:srgbClr val="6D6E71"/>
              </a:solidFill>
              <a:latin typeface="Rubrik Regular"/>
            </a:endParaRPr>
          </a:p>
        </p:txBody>
      </p:sp>
      <p:pic>
        <p:nvPicPr>
          <p:cNvPr id="110599" name="Picture 4" descr="http://1.bp.blogspot.com/-8ZRF_3Fvkqc/TvrImfHMcKI/AAAAAAAACig/wVliIsDFnaI/s1600/video_playe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625" y="3581400"/>
            <a:ext cx="2987675" cy="156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0" name="Picture 2" descr="http://keithlyons.files.wordpress.com/2012/01/absslid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9250" y="1677988"/>
            <a:ext cx="3055938" cy="146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ounded Rectangle 22"/>
          <p:cNvSpPr/>
          <p:nvPr/>
        </p:nvSpPr>
        <p:spPr bwMode="auto">
          <a:xfrm>
            <a:off x="5349875" y="1598613"/>
            <a:ext cx="3205163" cy="1616075"/>
          </a:xfrm>
          <a:prstGeom prst="roundRect">
            <a:avLst>
              <a:gd name="adj" fmla="val 5347"/>
            </a:avLst>
          </a:prstGeom>
          <a:noFill/>
          <a:ln w="12700">
            <a:solidFill>
              <a:srgbClr val="9F9FA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6D6E7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 bwMode="auto">
          <a:xfrm>
            <a:off x="5429250" y="3509963"/>
            <a:ext cx="3143250" cy="1633537"/>
          </a:xfrm>
          <a:prstGeom prst="roundRect">
            <a:avLst>
              <a:gd name="adj" fmla="val 5347"/>
            </a:avLst>
          </a:prstGeom>
          <a:noFill/>
          <a:ln w="12700">
            <a:solidFill>
              <a:srgbClr val="9F9FA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srgbClr val="6D6E7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152F1E6-91BB-419C-9FDB-4833E7D72BCB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UKNOF27  Bob Sleigh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AutoShape 14" descr="https://www.linx.net/images/linx-logos/linx-logo2.jpg"/>
          <p:cNvSpPr>
            <a:spLocks noChangeAspect="1" noChangeArrowheads="1"/>
          </p:cNvSpPr>
          <p:nvPr/>
        </p:nvSpPr>
        <p:spPr bwMode="auto">
          <a:xfrm>
            <a:off x="155575" y="-228600"/>
            <a:ext cx="1695450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en-GB" altLang="en-US" sz="1800" b="0">
              <a:solidFill>
                <a:srgbClr val="6D6E7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429625" y="357188"/>
            <a:ext cx="285750" cy="214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85750" y="393700"/>
            <a:ext cx="8501063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 smtClean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>Standardisation - DASH</a:t>
            </a:r>
            <a: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  <a:t/>
            </a:r>
            <a:br>
              <a:rPr lang="en-GB" sz="5200" dirty="0">
                <a:solidFill>
                  <a:srgbClr val="34A1A0"/>
                </a:solidFill>
                <a:latin typeface="EE Nobblee Regular"/>
                <a:ea typeface="+mj-ea"/>
                <a:cs typeface="+mj-cs"/>
              </a:rPr>
            </a:br>
            <a:r>
              <a:rPr lang="en-GB" sz="2000" dirty="0">
                <a:solidFill>
                  <a:srgbClr val="34A1A0"/>
                </a:solidFill>
                <a:latin typeface="Rubrik Light" pitchFamily="50" charset="0"/>
                <a:ea typeface="+mj-ea"/>
                <a:cs typeface="+mj-cs"/>
              </a:rPr>
              <a:t>Standardising ABR with Dynamic Adaptive Streaming over HTTP </a:t>
            </a:r>
          </a:p>
        </p:txBody>
      </p:sp>
      <p:pic>
        <p:nvPicPr>
          <p:cNvPr id="111621" name="Picture 6" descr="http://dashif.org/wp-content/themes/Shaka/framework/images/map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3817" y="2302457"/>
            <a:ext cx="4468812" cy="2560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1622" name="Rectangle 16"/>
          <p:cNvSpPr>
            <a:spLocks noChangeArrowheads="1"/>
          </p:cNvSpPr>
          <p:nvPr/>
        </p:nvSpPr>
        <p:spPr bwMode="auto">
          <a:xfrm>
            <a:off x="285751" y="1387982"/>
            <a:ext cx="5222353" cy="3785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Multimedia </a:t>
            </a:r>
            <a:r>
              <a:rPr lang="en-GB" altLang="en-US" sz="1400" b="0" dirty="0">
                <a:solidFill>
                  <a:srgbClr val="6D6E71"/>
                </a:solidFill>
              </a:rPr>
              <a:t>file </a:t>
            </a:r>
            <a:r>
              <a:rPr lang="en-GB" altLang="en-US" sz="1400" b="0" dirty="0" smtClean="0">
                <a:solidFill>
                  <a:srgbClr val="6D6E71"/>
                </a:solidFill>
              </a:rPr>
              <a:t>partitioned </a:t>
            </a:r>
            <a:r>
              <a:rPr lang="en-GB" altLang="en-US" sz="1400" b="0" dirty="0">
                <a:solidFill>
                  <a:srgbClr val="6D6E71"/>
                </a:solidFill>
              </a:rPr>
              <a:t>into </a:t>
            </a:r>
            <a:r>
              <a:rPr lang="en-GB" altLang="en-US" sz="1400" b="0" dirty="0" smtClean="0">
                <a:solidFill>
                  <a:srgbClr val="6D6E71"/>
                </a:solidFill>
              </a:rPr>
              <a:t>segments</a:t>
            </a:r>
          </a:p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MPD file describes segment information </a:t>
            </a:r>
          </a:p>
          <a:p>
            <a:pPr marL="361950" lvl="1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200" dirty="0">
                <a:solidFill>
                  <a:srgbClr val="6D6E71"/>
                </a:solidFill>
              </a:rPr>
              <a:t>timing, URL, media characteristics </a:t>
            </a:r>
            <a:r>
              <a:rPr lang="en-GB" altLang="en-US" sz="1200" dirty="0" err="1" smtClean="0">
                <a:solidFill>
                  <a:srgbClr val="6D6E71"/>
                </a:solidFill>
              </a:rPr>
              <a:t>eg</a:t>
            </a:r>
            <a:r>
              <a:rPr lang="en-GB" altLang="en-US" sz="1200" dirty="0" smtClean="0">
                <a:solidFill>
                  <a:srgbClr val="6D6E71"/>
                </a:solidFill>
              </a:rPr>
              <a:t> video resolution, bit rates</a:t>
            </a:r>
            <a:endParaRPr lang="en-GB" altLang="en-US" sz="1200" dirty="0">
              <a:solidFill>
                <a:srgbClr val="6D6E71"/>
              </a:solidFill>
            </a:endParaRPr>
          </a:p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Delivered </a:t>
            </a:r>
            <a:r>
              <a:rPr lang="en-GB" altLang="en-US" sz="1400" b="0" dirty="0">
                <a:solidFill>
                  <a:srgbClr val="6D6E71"/>
                </a:solidFill>
              </a:rPr>
              <a:t>to </a:t>
            </a:r>
            <a:r>
              <a:rPr lang="en-GB" altLang="en-US" sz="1400" b="0" dirty="0" smtClean="0">
                <a:solidFill>
                  <a:srgbClr val="6D6E71"/>
                </a:solidFill>
              </a:rPr>
              <a:t>client </a:t>
            </a:r>
            <a:r>
              <a:rPr lang="en-GB" altLang="en-US" sz="1400" b="0" dirty="0">
                <a:solidFill>
                  <a:srgbClr val="6D6E71"/>
                </a:solidFill>
              </a:rPr>
              <a:t>using </a:t>
            </a:r>
            <a:r>
              <a:rPr lang="en-GB" altLang="en-US" sz="1400" b="0" dirty="0" smtClean="0">
                <a:solidFill>
                  <a:srgbClr val="6D6E71"/>
                </a:solidFill>
              </a:rPr>
              <a:t>HTTP</a:t>
            </a:r>
          </a:p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dirty="0" smtClean="0">
                <a:solidFill>
                  <a:srgbClr val="6D6E71"/>
                </a:solidFill>
              </a:rPr>
              <a:t>DASH is audio/video codec agnostic</a:t>
            </a:r>
          </a:p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Segments can contain any media data</a:t>
            </a:r>
          </a:p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But spec </a:t>
            </a:r>
            <a:r>
              <a:rPr lang="en-GB" altLang="en-US" sz="1400" b="0" dirty="0">
                <a:solidFill>
                  <a:srgbClr val="6D6E71"/>
                </a:solidFill>
              </a:rPr>
              <a:t>provides specific guidance and </a:t>
            </a:r>
            <a:r>
              <a:rPr lang="en-GB" altLang="en-US" sz="1400" b="0" dirty="0" smtClean="0">
                <a:solidFill>
                  <a:srgbClr val="6D6E71"/>
                </a:solidFill>
              </a:rPr>
              <a:t>formats</a:t>
            </a:r>
          </a:p>
          <a:p>
            <a:pPr marL="361950" lvl="1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200" b="0" dirty="0" smtClean="0">
                <a:solidFill>
                  <a:srgbClr val="6D6E71"/>
                </a:solidFill>
              </a:rPr>
              <a:t>MPEG-4 </a:t>
            </a:r>
            <a:r>
              <a:rPr lang="en-GB" altLang="en-US" sz="1200" b="0" dirty="0">
                <a:solidFill>
                  <a:srgbClr val="6D6E71"/>
                </a:solidFill>
              </a:rPr>
              <a:t>file </a:t>
            </a:r>
            <a:r>
              <a:rPr lang="en-GB" altLang="en-US" sz="1200" b="0" dirty="0" smtClean="0">
                <a:solidFill>
                  <a:srgbClr val="6D6E71"/>
                </a:solidFill>
              </a:rPr>
              <a:t>format</a:t>
            </a:r>
          </a:p>
          <a:p>
            <a:pPr marL="361950" lvl="1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200" b="0" dirty="0" smtClean="0">
                <a:solidFill>
                  <a:srgbClr val="6D6E71"/>
                </a:solidFill>
              </a:rPr>
              <a:t>MPEG-2 </a:t>
            </a:r>
            <a:r>
              <a:rPr lang="en-GB" altLang="en-US" sz="1200" b="0" dirty="0">
                <a:solidFill>
                  <a:srgbClr val="6D6E71"/>
                </a:solidFill>
              </a:rPr>
              <a:t>Transport </a:t>
            </a:r>
            <a:r>
              <a:rPr lang="en-GB" altLang="en-US" sz="1200" b="0" dirty="0" smtClean="0">
                <a:solidFill>
                  <a:srgbClr val="6D6E71"/>
                </a:solidFill>
              </a:rPr>
              <a:t>Stream</a:t>
            </a:r>
            <a:endParaRPr lang="en-GB" altLang="en-US" sz="1200" b="0" dirty="0">
              <a:solidFill>
                <a:srgbClr val="6D6E71"/>
              </a:solidFill>
            </a:endParaRPr>
          </a:p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Multiple representations (different resolutions, bit rates)</a:t>
            </a:r>
          </a:p>
          <a:p>
            <a:pPr marL="171450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400" b="0" dirty="0" smtClean="0">
                <a:solidFill>
                  <a:srgbClr val="6D6E71"/>
                </a:solidFill>
              </a:rPr>
              <a:t>Selection can be made based on</a:t>
            </a:r>
          </a:p>
          <a:p>
            <a:pPr marL="361950" lvl="1" indent="-171450" eaLnBrk="1" hangingPunct="1">
              <a:lnSpc>
                <a:spcPct val="150000"/>
              </a:lnSpc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n-GB" altLang="en-US" sz="1200" b="0" dirty="0" smtClean="0">
                <a:solidFill>
                  <a:srgbClr val="6D6E71"/>
                </a:solidFill>
              </a:rPr>
              <a:t>Network conditions, device capabilities, user preferences</a:t>
            </a:r>
            <a:endParaRPr lang="en-GB" altLang="en-US" sz="1400" dirty="0" smtClean="0">
              <a:solidFill>
                <a:srgbClr val="6D6E71"/>
              </a:solidFill>
            </a:endParaRPr>
          </a:p>
        </p:txBody>
      </p:sp>
      <p:sp>
        <p:nvSpPr>
          <p:cNvPr id="111623" name="AutoShape 8" descr="data:image/jpeg;base64,/9j/4AAQSkZJRgABAQAAAQABAAD/2wCEAAkGBhQPDxUUEBIUFRUWFCAUFRUWFRwXFBQYFhoYFRcVFRcYGyYeGRwjHBcYIDIgIycpLCwsGB4xNTAqNSYtLSkBCQoKDgwOFw8PGjYlHhw1Liw1NCw0Kik0KiktKikuKSkqKiw1LCwpLDQpLCkqLCwpKSwsKSwsLCkpKSwpLCwsKf/AABEIAGABOAMBIgACEQEDEQH/xAAcAAACAgMBAQAAAAAAAAAAAAAHCAAGAQQFAwL/xABOEAACAAQDAwYEEggGAgMAAAABAgADBBEFEiEGBzETIkFRcrEINWGTFBYXMjM0U1Rxc3SBkZKys9HiIyVCUmOChNMVGCRiodI2wUSDov/EABoBAQADAQEBAAAAAAAAAAAAAAACAwQFAQb/xAAvEQACAgACCAMIAwAAAAAAAAAAAQIDBBETFDEyM0FRcRJSwQUVIVOBobHwIkKR/9oADAMBAAIRAxEAPwA4MbC5jlDaukP/AMqT5xfxjo1Q/Rt2T3GFiphzF7I7o24XCq/PN7Cm2xwyGN9NVJ76k+cX8YnpqpPfUnzi/jC7WiWjb7tj5inWH0GIO1dJ76k+cX8Y3avEJclc82YqLe2ZiALnhqYWWqH6Nuye6DRvX8Vr8YkZ7cFGE4Rz3icbm03lsLN6aqT31J84v4xPTVSe+pPnF/GF2tEtGj3bHzENYfQYn01UnvqT5xfxj0p9oaaY4SXUSmY6BVcEnp0AhcrRYN34/WtL22+7eIWez4xi5eLYj1YhtpZBxrcZkSCBOnS5ZIuAzAEjhcXjX9NVJ76k+cX8YG2+cf6un+Jb7cD+0QowMbK1NvaSne4yayGJ9NVJ76k+cX8YnpqpPfUnzi/jC7WiWi73bHzENYfQZikrEnIHlOrqeDKbg20OojUrto6aQ+SdUSpb2vlZwDY8DYmODuq8VS+3M+8aAv4QXjn+nTveORZHwTcehqi80mH705UXvuR5xfxjK7YURNhVyPOr+MJ3S0Myc2WVLeY1r5UUs1uuwF7RszcAqUUs9NPVQLlmlOAB1kkWEQJDnU9Wk1c0t1deF1YMPguI9bwlOF4rNpZgm0815UwcGRiDbQ2NuI04HQwft1W+P/EHFLXBVn2/RTBos617qV/Ze1jpx14W1ALESMRmAJHGG2dF78p/Or+MaO8nH/QOFVE0HncnyadPPmcxenywokAOvh+KyalS0iakwA5SUYMAbXsbeQxtwu/g644JNfOpzpy8sEdqSWIH0O30Qw4gDMS8SBFvj3rvQv6DoiBOK3mzeJlBvWqo4ZiNb9GnXoAS8W2jpqMXqaiVK7bgH6OMcv1TMM9/0/nBCl2mVE39ubMmN5XmOx+ksSY7c3d1iSy85oajKeqWS3zoOcPnEANlhmNyKpc1POlzRxujhvptwjcvCTUNfMp5izJLtLdTdXQkMPnEMfug3onFUaRVZRUy1zXGgnJwLAdDDS44agjqABGqapZSF5jBUUXZmNgB1k9Ecv05UXvuR5xfxjS3meJq35O3dCh3gB3qapWageWwZWF1ZTcEdYMekVrdr4movkyd0WWAPGrrUkoXmuqIOLMbKPhJjmenKi99yPOL+McPfH4kquyPtCFRgB4ZUwMoZSCCLgjgQdQREjR2e9p0/wAQn2FiQBt1Xsbdk9xhYqb1i9kd0M7Vext2T3GFipvWL2R3R2PZmyX09TJidqPWJEiR1jKeVV7G3ZPdBo3r+K1+MSAvVext2T3QaN6/itfjEjDieJV3foXV7sgNxmMRmNxSSLBu/wDGtL22+7eK/Hf3f+NaXtt928VX8OXZ/glDeRYd8/tun+JP24H8X/fP7bp/iG+2IoEVYPgx/eZK3fZIxGYxGorDfuq8VS+3M+8aAt4Qfjn+nTveDTuq8VS+3M+8aAt4Qfjn+nTvePl7+LLuzpV7qPrwez+uT8mf7SQy0LT4Pfjk/Jn70hlopJgu3ybtZdXSvVU6KlRJUu2Vbcsg1ZWt+0OIPkt06LhKnMjBlYqykMrA2KkaggjgQemHcnyg6sp4MCp+AixhIIAcXYXaH/EcOkVBtmdOfbhnXmv/APoGO9Az8H2aWwaxOiz3A8g5rd5MEswAC/CQx+7U1IpFlvPmDpueZL+DTP8AT5IDNLQPNDmWpIRc72/ZUdJjt7wdov8AEMTqJ4N0LlZWpI5NOapF+ANs1v8AcYJO4rY8VNBXTJo5tQvoVLg8ApZm8ozMvD9wwAJNncbahq5NRL1aVMD2vbMB65L2Nsy3F/LDnSJwdVZTdWAZT1gi4MJNUU7S3ZHGVlYqwPFSpsQfnhodyu0XozCJQJu8g8g/XzdUOvG6ka9d+qAL5Cdbd1LTMVrS5JPoqYuvUrsqj5gAPmhxYXTfpsE9NVtXSlJkTiDMIGkqZoOdbgG436yR0iAOr4NlFKaZWTSAZqiWq3GqI2csVPlKgHsjrg7WhMNnto5+HzxOpZhluND0hh0qwPEQYtnfCPU2WvpiDoDNkm4vwJMtrEDp0J+CAM78d3k2pqZM+hpmmM6ss/kwOKlcjNrqSGYfyxWt2exGI0WLU06ZSTklhisxjoMrKQc1jwvY/MIOuzu2tHiI/wBJUJMNrlL2mAa8UPOHAx24ArW8zxNW/J27oUKG93meJq35O3dChwA3u7XxNRfJk7ossCHYzfPh1Jh1NImzJgeVJVHAlMQCosbG2sdn1e8L90m+ab8IA6G+PxJVdkfaEKjB53ib3sPrsMnyJDzDMcAKDLYDQg8TwgDQA6ez3tOn+IT7CxImz3tOn+IT7CxIA26r2Nuye4wsVN6xeyO6GfmAEG/C2vwRR02RwYAAGRYCw/T/AEftR0MHiI0qWa29Ci6DlkB2JBj9KWD9cnz/AOaJ6UsH65Pn/wA0btfh0ZRoH1AvVext2T3QZ963itfjEiPsjgxBBMi1tf0/R9aLJj2H00+QEqyvJZgRmfILj1utxGa7FxnODSfwLIVNRks9ovMSDH6UsH65Pn/zRn0pYP1yfP8A5o06/DoyvQPqBuO/u/8AGtL22+7eCL6UsH65Pn/zRt4Rs5hkqej05lcqpumWdmN7EGwza6ExXZjoShKOT+KZ7Glpp5lP3z+26f4hvtiKBB62kwWhqJiGtMvOFsmaZkOUnWwuL6xyfSlg/XJ8/wDmiGHxka61Fp/AlOpyk3mBuMQZPSlg/XJ8/wDmielPB+uT5/8ANF2vw6MhoH1NvdV4ql9uZ940Bbwg/HP9One8MPgFFIkyAlJl5IEkZWzC5JLa3PTeF48IPxz/AE6d7xxrJeKbl1ZsgsopH14Pfjk/Jn70hloWnwe/HJ+TP3pDLRWSME2hHYbzeJtUmG4fNmuwDspSSt7F5jAgAfBx+aFEgBlPB68Tn5Q/csWXedtB6Bwqomg2YpyadqZzB33+aNXdDgrUmDU6uLM4M1tLH9ISwB8oBA+aB14SGPXmU1IraKDPmL/ubmSyfgGf60ABWG42DkSKHDaeRy0oFZYL89Rz25zdPWTCkR8wBfN82EJT4vNeUUMueBOGQggMdHGh45gWPaju+Dtjok186nYgColgjW12k5iAOs5XbTyQJ46Gz+MPQ1cmol6tKmB7XtmAPOS/QGFx88AOiI+ZksMCGAIIsQRcEHoI6Y8ln55QeXrmTMnUbi6/TpC8r4RVfbWVT37Lf9oAvu1m4OjqyXpGNJMPQq5pJ/kuCv8AKQPIYFu0W5LEaMFklioQdMk5msOkyzzvmFzB23Y7XtiuHrPm5BM5RkmKgsFKm6jU8cpU/PFsgBI5btLcFSUdWuCCVZWB0IPEEEf8Qftzu9l61/QdcwM7LeTN4GblFyjD94AXuOIv1a8fwkMIlI9LPUKs2ZnR7DWYECFWPZvb+YdUDHYScUxaiKkg+i5QuOppiqR84JHzwAz+8zxNW/J27oUKG93meJq35O3dChQBecJ3M4jVSJc+UkspNQOhMyxs2ouLaRt+oNinucrzo/CD1u18TUXyZO6LLACo47uir6GnefPSWJaC7EPc6m2gtFKhrt8fiSp7I+0IVGAHT2e9p0/xCfYWJE2e9p0/xCfYWJAG3Vext2T3GFhpl5i9kd0M9Vext2T3GFipvWL2R3R2PZmyf09TJidqPTLEyxmJHWMp41Sjk27J7oNG9cfqtfjEgMVXsbdk90Gfev4rX4xIw4niVd36F1e7IDeUdUZyxIzG4pMZYsG79f1rS9tvu3jgRYN3/jWm7bfdvFV3Dl2f4JQ3kd/fOP8AV0/xLfbgf5R1QQN8/tun+Ib7YigRVg+DH95krd9mMsYyx9RiNRWG/dV4ql9uZ940Bbwg/HP9One8GndV4ql9uZ940c3bbc9Ixar9ETZ81GyCXlQLay3sdRfpj5e/iy7s6Ve6he9jdr5uE1PoiQqM3JmXZ+FmsSdOnSLu/hE15BtKpweg5SbfNeLf/ltpPfdR9CfhH3K8G6jB51VUkeTkwfpKGKSYEdptranE53K1c0uRoo4IgOtkUaDvNouG6fdY+JTlqKlStIhB5wsagjXIl/2OtuHQNb2LmAbk8No2Dck09hwae2e3T60AL89oviKAAAAANABwAHQIAgFh1AfQIT7bzaL/ABHEp9QL5He0u9/Y15qaHhcC9usmG5xWi5eRMlBynKIUzqAWXMLXAOl9emBUPBupffdR9Cf9YA43g47Ph2qap0BACyJZIB1PPmfBYZPrQcvQafuJ9UfhHI2N2Tl4VRrTSWZlVmYuwAZixvc2FvJ8AEd2AOHtXs4lZQz5ARQZkplUhRcNbmkfPaE6Jh4LwLMX8H2lqaibO9ET05SY0wooTKpc5iFuOFzAHU3JbQ+jMIlqTd6djIb4F1Q8deaRr1gwG97u79sMrGmIp9DT3LS2A5stjzjJNhYW1yjpA6bGDjsBuzl4K00yZ82YJwUMrhbXQtlIyj/c30xbamlSahSYqurCzKwupHUQYAUbYvbuowicz0xUh7CZLcXRwpNr21BF2sR1wRv8ys3L7Ql5uvljl+rkv/zFp2h8H+hqSWp3mUrHoWzyr9htfmDARW/8s5v4xFvk2v30ADHbHbSoxafytSRzRlRFFlRSb2H4+SLbuQ2GesrlqpinkKds4YjR5o9Yq9eU84kcLLBC2f8AB9oqcq1S8ypYa2P6OUSNfWKST8BYgwTaWlSUipLVURRZVUWUAdAAgCv7zPE1b8nbuhQodPaDBlraSbTuxVZqGWWW1wD0i+kC/wDy20vvuo+hPwgC97tfE1F8mTuiyxz8AwhaKllU6MWWVLEsM1sxCi1zbS8dCAKVvj8SVXZH2hCow5m1Wzq4jRzKaY7IswAFltmFiDpfTogbf5baT33UfQn/AFgAobPe06f4hPsLEjZoKUSZSSwSQiBATxIUBbn6IkAekxbgjrFvpigS9y1KABy9ToLeul9H/wBcX2q9jbsnuhYaVBkXsjuEdHBVzmpeCWRnukllmswx+ozS+7VP1pf9uJ6jNL7tU/Wl/wBuBDliZY3atd8z7FGkh5QuTdytIykGdU2IsedL6dPc4tO0WzcuvpxJms6qGDXQjNzeHEEf8QulWg5Nuye6DTvXH6rX4xIzXU2RnWnPPN/5sLITi4yyR5eozS+7VP1pf9uJ6jNL7tU/Wl/24EGWM5Y06td8z7Fekh5QveozS+7VP1pf9uN3Bt19PSVEuek2eWlkkBimU3BXWyA8D1wE8sWHd8v61pu233bxCyi5Qk3ZyfI9jOOa/iFfajYSTiUxHmzJqlEKDkyoBBN7nMp1jj+ozS+7VP1pf9uOBvnH+rp/iW+3A+yiK8PRbKuLVmS7EpzipNOIX/UZpfd6n60v+3GfUapfdqn6yf24EGWMZYv1e75n2IaSHlGM2cwFKCnWRLZ2VSSC9s3OJY3sAOJ6ortZtVPTaCVRApyD05mkZefmF/2r8OHRHtupH6ql9uZ940cLEv8Ay6n+Rt3mOJampyTefxNsN1BCmYpKUsGmywUF3BdQUB6W10+eM0eJSp4JkzUmAcSjBrfDY6QIqDZ2TXbWYgtSvKIqI3JknIx5OUBnUeutxAPTG1RYTLwzatJdGolSp9Kc8tbhLi5uBe37I0+HriskFKtxWTIty02XLvwzuFvbja51ihYZisyZtROQTnaT6DDogmEybkjnKt8t/KI4OxmESsbxnE6ivlicsiYJEhG1QKGmL62/EBAfhcx77H7PyaDaqolUy5JZps4W9wpYi4XyeTogAr09bLmFhLmI5U2YKwYqeprHQ6Hj1RlK2WzlFdC66sgYFl+Fb3EC3cqP9djPywfbqI2tj/8AyrFvi5f2ZcAEGqxqRJbLNnykb91piqfoJjxxzG0paV5xZOahZAzhRMIUsFDeW3ReAfhkmmw6dUptNRzHnT5pK1jKZkp1tayFfWm9yMovYgELlEXHBtlKb0vTpZqUxCSnKTqd2QASSEICAZm5yksej11rQBathduExOhWofk5THMXl8oGMtUYpmYmxANr6jpjtvjcgZbz5QzDMv6RecB0jXUaHXyQJtgcIkrsrOnrKUTpkicrzAOc6q72DHptYfRHR3QbCUj4dIqpkvlJ7KwzsxOVTmTIovYDKSLDrgAoU9Ukxc0t1dTwZSGU20Oo0j5kV0uYzKkxGZTZgrAlTqLMAdNQePVAh3eYqcFTFqOdcijJqJROuZGFhpwANpZsOl2jv7jdnTTYZy8zWbVvyzMdWK6iWC3E8WbXpcwB0N7W1k/C6BZ9Lkz8sqHOuYWIYnS410EfEuhxxlB9GUGov7Xfp1/ejk+EN4oX5Sn2XjZlT9oeTGWVh/rRlu7dWlxaALzQO8unU1cyWZir+ldebLv0kZuA+GPqjxeTPJEmdLmEakI6sQOuwMDTeWrV2K4bhs5ysibebPVDYTCgLBSeNuYR/NfiBGlvW2Vk4TJkYhhqLTTpE4AhBZJiv0OBx1AHHgzeSwBcm10tGCtMRWIzBSwDEDibE3sLHXyR4pjUgoHE+UVLZQ3KLlLfug3sT5IFm8PDJeIY/hcmdm5OdIbOqsVJWzzMpI6CQLxN7+ByaKhoJNNLEuWMQUhRwuwYmAC3UVSS1zTHVFHFmIUC/DU6R8vXy1KAzEHKex3YDPw9ZrzuI4dYij78/EVR25f3qRUN6NGs9tnpT3yzDyTWNjlf0IjAEcNCYAMVPjMia+SXPlO/7qzFZtOOgN4kvGZDTOTWdKL8MgdS1xxGUG8BffbsjT4ZIpamgT0NNE7ks0klCQyM2Yka5hltcHgx4xvb2N31Lh+FpUUUsSZ1NMQrNU2mNdgt2PS2azX6xABmiR4UE/lJMtzxZFb6wB/9xIA+563RgOkEfSICsndHXBQDyOgA9kPQOzBuiRfTiJ05+HmVzrU9oFPUlrv4PnPyxPUlrv4PnPywa4kX6/cQ0EAIzt0VcVYDkdQR7IekdmCNt1s/NraESZOXOHVucbCy8dbRaIkVzxdk3GT/AKklVFJpcwKepLXfwfOfliepLXfwfOflg1xIs1+4joIAU9SWu/g+c/LHW2U3cVdLXSZ03ksiMS1nudVZdBbrIgqxI8ljrZJp8z1URTzB/vF2KqMQnynkcnlSWVOZspuWvpoYqnqS138Hzh/6wa7RIjXjLa4qK2ISpjJ5sCnqS138Hzn5YnqS138Hzn5YNcSJ6/ceaCBX9hsFmUVCkmdlzqzE5Tcc5iw1+Axxa7Z2e20cmrEu8haYy2e40Y30te8XqJGOUnJuT5lyWSyKBgGzFRK2irqt5dpE6Wolvcc4qqAi17j1pj6xLZuofaOnq1l3kJTlGe40Y30te8X2JET0FMzZ7EcGxKqqMNpkq5FYwmPLMwI8twWY6seF3b63DSNvZTZyvGOTK2uly1WbTZbS2uss3FpeupOl7+WCXEgATU2A4nguIVkygpUrJNZM5XWaJZlHM7WIPlmMNL3CiOhsPsxWysXramuVB6IlLZ5R5gbQZEuc3NAAuRraCTEgAV4cMbwtHpjTLicssSk959myt+zMEwkkcdLm17X4R0dgN3s2iwqop57oJtSXYqnscougQKOvhc2+DovBDiQAJ9jcCxGThNTh1RSKoSTMEmaJgPLPMZmygX0GvE2i4btcHm0eFSJNQuSYgIZbg21J4jSLRGDAAS317NmoxaiSma02sQyZgHQiMpDsL6gBmP8AIYNNLSrKlqiCyooVR1BRYd0UvZLdl6Dq2q6qrm1lQVyJMmDKJa9QBZtfLfpOmsXmAKFvm2bqMQw0SqSXykwTlfLcDQBgdWIHSIvFOlkUHiFAPzCPWJAFF3ibH1FRPpa2gZRVUjGyPos1GtdCejTMPKGOo0jgYvgmJ7QPJk19KlDSypgmzf0omPOIBGVcp00zDXhmB1tBZiQBQ9odmZ83H8PqZUu8iRLdZjXAC5g4UWvc8Rwj33r7GTMVoVSncLOlTROl3NgxAZSuYetNmuD1gRdYkAB/aynxvGMPmSJlDKpwMrMOVDzJxUggJY5VFxcknot0x0tstj6qonYI0qVmFJMU1HOA5MA0xPE6+xtw6oJ0SAB5vp2VqMSo5Eukl53WoDsMwAC5HFzc9ZHCOjvawOdXYTNk0sszJjOhVQQLhXVjqxA4Dri5RIA1cMklJEpWFistVI6iFAMSNqJAH//Z"/>
          <p:cNvSpPr>
            <a:spLocks noChangeAspect="1" noChangeArrowheads="1"/>
          </p:cNvSpPr>
          <p:nvPr/>
        </p:nvSpPr>
        <p:spPr bwMode="auto">
          <a:xfrm>
            <a:off x="155575" y="-433388"/>
            <a:ext cx="2971800" cy="914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 sz="2000" b="1">
                <a:solidFill>
                  <a:schemeClr val="tx2"/>
                </a:solidFill>
                <a:latin typeface="Rubrik Regular" pitchFamily="2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ts val="900"/>
              </a:spcAft>
              <a:buFont typeface="Arial" charset="0"/>
              <a:defRPr>
                <a:solidFill>
                  <a:schemeClr val="tx1"/>
                </a:solidFill>
                <a:latin typeface="Rubrik Regular" pitchFamily="2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ts val="900"/>
              </a:spcAft>
              <a:buFont typeface="Rubrik Regular" pitchFamily="2" charset="0"/>
              <a:buChar char="–"/>
              <a:defRPr>
                <a:solidFill>
                  <a:schemeClr val="tx1"/>
                </a:solidFill>
                <a:latin typeface="Rubrik Regular" pitchFamily="2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en-GB" altLang="en-US" sz="1800" b="0">
              <a:solidFill>
                <a:srgbClr val="6D6E71"/>
              </a:solidFill>
              <a:latin typeface="Arial" charset="0"/>
            </a:endParaRPr>
          </a:p>
        </p:txBody>
      </p:sp>
      <p:pic>
        <p:nvPicPr>
          <p:cNvPr id="111624" name="Picture 12" descr="http://www.dcinema.fraunhofer.de/en/veranstaltungen/IBC2012/Dialogue_enhancement1/_jcr_content/stage/image.img.jpg/1345042912078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1571624"/>
            <a:ext cx="1785938" cy="63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1625" name="Picture 10" descr="http://community.overdigital.com/wp-content/uploads/group-avatars/4/7af3eb780f12f2f4a4dedfc8e87941f5-bpfull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841" y="4571788"/>
            <a:ext cx="928687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09C09DF-0799-4474-B47E-6CB86C810D74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21/01/2014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UKNOF27  Bob Sleigh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Slide Number Placeholder 7"/>
          <p:cNvSpPr>
            <a:spLocks noGrp="1"/>
          </p:cNvSpPr>
          <p:nvPr>
            <p:ph type="sldNum" sz="quarter" idx="12"/>
          </p:nvPr>
        </p:nvSpPr>
        <p:spPr bwMode="auto">
          <a:xfrm>
            <a:off x="8604250" y="5165725"/>
            <a:ext cx="325438" cy="131763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0770FBB-EA05-447B-B63D-AA5FCDC2359E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smtClean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60363" y="428625"/>
            <a:ext cx="8712200" cy="677863"/>
          </a:xfrm>
          <a:prstGeom prst="rect">
            <a:avLst/>
          </a:prstGeom>
        </p:spPr>
        <p:txBody>
          <a:bodyPr lIns="0" tIns="0" rIns="0" bIns="0"/>
          <a:lstStyle/>
          <a:p>
            <a:pPr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Multimedia broadcast technology</a:t>
            </a:r>
            <a: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/>
            </a:r>
            <a:br>
              <a:rPr lang="en-GB" sz="5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en-GB" sz="2400" dirty="0">
                <a:solidFill>
                  <a:schemeClr val="tx2"/>
                </a:solidFill>
                <a:latin typeface="Rubrik Light" pitchFamily="50" charset="0"/>
                <a:ea typeface="+mj-ea"/>
                <a:cs typeface="+mj-cs"/>
              </a:rPr>
              <a:t>An example of live sport driving data usage</a:t>
            </a:r>
          </a:p>
        </p:txBody>
      </p:sp>
      <p:sp>
        <p:nvSpPr>
          <p:cNvPr id="30724" name="Slide Number Placeholder 4"/>
          <p:cNvSpPr txBox="1">
            <a:spLocks/>
          </p:cNvSpPr>
          <p:nvPr/>
        </p:nvSpPr>
        <p:spPr bwMode="auto">
          <a:xfrm>
            <a:off x="8604250" y="5165725"/>
            <a:ext cx="325438" cy="13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>
              <a:latin typeface="Rubrik Regular" pitchFamily="2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429625" y="357188"/>
            <a:ext cx="285750" cy="2143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5" name="Rectangle 14"/>
          <p:cNvSpPr/>
          <p:nvPr/>
        </p:nvSpPr>
        <p:spPr>
          <a:xfrm>
            <a:off x="8286750" y="1000125"/>
            <a:ext cx="500063" cy="2857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0727" name="AutoShape 2" descr="data:image/jpeg;base64,/9j/4AAQSkZJRgABAQAAAQABAAD/2wCEAAkGBhQSERUUExQWFRQVGBwYFhcYFhYXFxcVFRUVFhUVFBUYHCYfFxkkGRYXIC8gIycpLCwsFx8xNTAqNSYrLCkBCQoKDgwOGg8PGiokHyQ1LC4qKjAtLzAsMC0sKiosLywsLSkpLCwsKiksKS0sLC0pLCkpKSwsLCwsLCksLywtKf/AABEIAK4BIgMBIgACEQEDEQH/xAAcAAACAgMBAQAAAAAAAAAAAAAGBwAFAgMEAQj/xABREAABAgMFAggHCwoFAwUAAAABAgMABBEFBhIhMUFRBxMiYXGBkdIyU5OhsbPRFBUWFzNSVGJzdJIjJDQ1cpSiwdPwQoKytOIlRGNDg8LD4f/EABsBAQACAwEBAAAAAAAAAAAAAAADBAECBQYH/8QANBEAAgECBAMFBwQDAQEAAAAAAAECAxEEEiExE0FhBVFxgfAUFSKRobHhMpLB0QZSU/Ez/9oADAMBAAIRAxEAPwB4xIkeEwB7Eisn7dbaGZED09fsJ2U6aJHaqkAGkeVhar4Sh85HlWu/GPxl/WR5VrvwAzKxKws/jL+sjyzXfj34yfrI8sz34AZdYlYWnxk86PLM9+PfjI+s35ZnvwAyqxKwtPjI+s35Znvx78ZH1m/LM9+AGVWJWFr8Y/1m/LM9+J8Yx3t+WY/qQAyqxKwtfjH52/Lsf1I9+Mb6zfl2P6kAMmsSsLX4xj85vy7H9SPfjFPzm/Lsf1IAZNYlYW/xiHejyzP9SJ8Yh3o8sz34AZFYlYW3xiHe35Zn+pE+MQ72/LM9+AGVErC0+MU72/LM9+IeEQ72/LM9+AGVWPYWfxiHe35Znvx58Yqt6PLM9+AGbHlYWXxiq3o8sz349+MY70eVa78AMysewrZjhPwCqiKaZLQrzJUTHMOF5G+AG3EhUJ4VQd8ZjhS/uo9sANSJCyY4VEE0Ji9s6/7S6AmnTABhEjllLQS4Kgx1QBIkSJAEgdvFboaSc+bLMknRKRtJ/kSaAEi6nnsKCYXVvSq5gJQg0cmXlS7R2IZbBVNv03koKRzBI/xQBRyqZu03lIYUW20nlrB0roOM1KjuTQdOp7nbn2VKn87nGeM2hTgUrrFa+aBa/t9hLg2dZxLTDVUuuJNFvOaLqsZ0rkSNTzACFkqAHwmcu6MvdDR6l92J7uu549rsX3YQhjFRgB+e7buePa7F92IZm7n0hr+PuwkLJ4vH+VSFJyyJI9BEbLe9z8YkMoCU7aFR9JMbqLavc1b1sOhTt3PpDX8fdjHFdz6S1/F3YCbBuhKutBSmwTT5yx6FRum7sSKEH8iMW/G53o2yNbi65Blxl3PpDX8Xdj3jbu/SGv4u7ChmLJaTU4MtmavbGhmRZJzSO1XtivxDoTwMowzZo+HP7DmDt3fpDP8AF7I9x3d+kMfxeyFhZ1gSy1gFAoT85XegvPB1JYMmxX9tzvRJTvUvYo1Fw7Zi/Iu54+X/AIvZGCmbuH/uJfzwvLTuW0hRwgU6Ve2LCSu/IholxgKVvxuj0KjWcstySNKUkmkFypO7v0mX7DHiZG7v0mX/AIoXgsiXJVSXFNnKc0/FFLaFjBOYRQV3nTtjCncOk0OD3Jd76TL/AMXtie47u/SZb+L2womLGbUkcnPbmfbFpJ3VbIzar1q9sM5ZjgZvW6QyfcV3fpMt2n2x77ju79Ilu0+2FPNXeSlR/J0HSr2x2WbY0sojGgU/aV7YOViGFCU9hme5Lu+Plu0x6JO7vjpX8aoE7Su7ZyWqoZBXT57mv4oHl3Zbw4w0OjEr2xBDEKeyZPHAzlHNdevIaPua7vjZP8So89y3d8bKfjV7YTltSrSEjA0kHbmvLtVGlmz21NhVADuqfbE0ZXVytKnldrodPuS7vjZTyivbE9xXd8dKeUX7YW8pcrjUYksbNar9sUUxZKWllDrdD0nzZxvyuI03J2TQ5fcN3vHyvll96PDZ13fpEv5ZfehTsycsRTixi/aX7Yp7bYbRQITQ9JPpMCG+th2my7vfSmPLK9seGzLv/TGR/wC5CGZ0jOBkdj9gWMo/krSl0n6yh6cQjjnLhTCUF2TdbmmxmeJWFn8H8gSYT8ddl2s9LOBxhxTSxopBp1HYRzHKAGldO/TjbmBdaJ8LXk54eUDmnOg6TTdDpsi1A8gEGEfLW2i0mvdvFpE7KU92ISAEzUorkLcw/OCSQeb/AC0ObnTZYfXLlWJKTVB3tqzQSd9MuqAGREjALiQBUXitANpFSK0UoCoqeLQVmg25CB2ac9zcvbJ2YtQ+0dIqrpJY85iwvqMjzNPedhQitv2aN2nzSDQ7XJuAPnJwk5nMnU7ydTGkxtXGpUAYGMTGRjFUAb5GUKzzDUxptNIx0SawV8H0shxTyV0zCKdq6xjeC7raZoYTlSpHojNtLmVJNqCXmWdy3nA3hJyjhvFNLU6lCM6nZ/OOuz5oNqpUU9ME1kWQhxCyCAtQISTsJ0jXPm08WSZMr+VgOMuleBOIEnccgdM92caTY5DlCKDb0wazd0JZCwriVFQUlOMOpzURXHhJyAI0i1tGyW0DEaE0FdNaaxDRlxFeJalGMJJVRaTDBacScRAgzsZ1TtBirlnArP2aXn6V5IPbBbZrSZehr/YjZVoQmk+ZNLByqwlKnstjmvDJlBCa6xY2Fd4LRmawH3uvTidFNI6bq3lfccwMtOO7whCl4dxOEZDpi3GnBVLPZnLnWm6fw7oKLQuk4qoaWhAArVQJrrkKaaawM2hduYSpHHKQuqsGIVHIVriBA0Oh30hhe5HlpKnmXEISUk8rCcQUKAhKsVOUcqUgdsyWDjimwlSuMJqlaySo1qPCNEjoinXqOFZxjtyLdCjGdBTlo+bKez7pLbUQrQQV2RMtYSk0qnIx1vzuBXFuNqbUdApJGzZsI6I53rAQ2FOjLFmYzhq8p3U42IpwnKLyt2BS9VrtkFKRVSdeaB9q1WeLFfCppGdqT7SVrpQkmCK61321yqXUsNLWsqzdqQnCcsKdKUGtNTG9ScY3k0ZpKekYsGZW0wpfNsiym7bwowgR0XjkEISAWmmnqlQW1UIcTWlAk+CfNlFEyoLBFc9KRmMlOFkjEVaqs70OWaWMQUo8k680eTSGkqTRQwkgmOK05dSGs9p/nFdIMYlVIqIwtTaslGVu8+jbv2k17nQUgEUhScK1opcmU4BSmsW1n2uZWUxeFlv80B84h+fcxJbIHm7YuTTUbPmUYtZtDZdiwHZlRWk5CPb1XbcbTxqvBBCeswyOD+7q5Zii9TrGHCqgCzlU8Y36VRmVOmoX52NFVk5WE01pGcYNaRnFQsEiRIkAFXBfOYLTYQfAfxS7g3oeSUUP+bCeqGc26UTMorapgJVzqaOA+cKhR3GNLTkvvLXrEw2p/wCXlP2nx2TDsYAz238h0RI0NeCOgeiJGQVl9PBV9k96pUVfCB8lan3Fn1s3FrfRJwk0NOJeqdg/JGlTFRwh/I2p9yY9dNRkHzquNRjauNSowDAxiqMjGKoAvLrulPGFOvJ9KolspUpypUanLni04PEJPugq2BHnK43W5ZGJYXXTqhGEnIn40OFka1XM23Pug5MrwlWBCUlS3DngSNTzmCyXn5BjJtUw6rEnlKwpRQKFSEjPSusc9nccxZsw4GyW3W6YwRyUpUUqKknOhrSogYaXUA74p1qs4PLax6zsnsjD4i86ju1ayT6X1+1g1mbEdenUtFtQTUq4xO6lUqTsOVM445yQJQVpmm30pzKalDoA1JbVrTmMc0veNwSimhMuA4qBumXF0zHGajP/AA1pHAJNSCypQGBzTMVpochprGlOagssFoZq9iqUZyrTs1fLbnZN8+/pfZ6s1yDCnVqKRkPTGu12XkiqqhMMKyrDSy0Cka5mKa+UwgMkGmcS1W4VFHKeWo1bRdmLD4PuzUw0y0MS3FBI3AHVR3ACpJ3Ax9I3VsFqz5ZEqwK4flF5YnFnwlq5zsGwADZCmuU6WWlzAoFghDat1KKURv8A8I7YMLtuTLlpEukCXcbUhTIBw1UnFiUCak1BGuQMZddZ3TdtB7PJx4kVpv4B09LBSFJNeWKYsqjaPPA7YFyuIdLq1hajUJoDQV21Oen84IXnEMoAUug0BWaknUVJ1NPRA03eBSi62FKUorKGykpBKs1IS2sA5dKSKVzjVpU5LXw/Pfbl+Nc041JU5W25/j+QrmbGZda4taAQSVDeFkklaTsVU1gLtSzsTRRXTLsgktyfxMkJUps0BDozSCTkF0OLCa0qN8L2XtcP42+NSl5JUHK1NCDoQB4Xmz12xaTV0u8iipqDs7LmuneCK7CRxuAJxqJ0AqYJZSqZcoQ4tGBeDCBooqBJzplRKhlv1jjti2/cFWG0FD1fyriwKlWqSOamY2Culc4HmLTW4sJW4CCKBThVhSakg1GaRXbzxVr1Myydx3MN2W4QdZPltvf/AN5FnaUkh9aCoqK0q4sVFCpazQKoKADI57aRpsu7obVy8q/3nHbOzrbLZbStDrxILi0EKQgDOiXB4S+cZAVoc8uQXldSaqIXXP8AKISrdmCpNdmyGHrqi/iVySXYlXF0uJCSj0fPqdNsXVDrZCR0RQ2JwdTBriyEG1h3ubdJS4lDVE5UJopdcqA12bKj+UXlk28y6FALSgpOEYiAFnPNs/4hlXZqI6Cq0XFNaHAxOAxdGUlKN7Wu1qtdijs+4CEpAcJUBs2dkEMrZTbYolIEWCkZV2bCMx2iNSom31RyndOzNaoDeFX9XK+0b9JgyVAdwqfq5X2jfpMay2NofqQmmtIzjBrSM4rFskSJEgC6uR+spL7yz61MNy0/0mVH15j/AHL0KO5P6ykvvLPrUw27TP51LftzH+6ejAGSz4I6B6IkRnwR0D0RIyDRfEfm7n2Tnq1QO8IfyNqfcmPXTUEV8f0dz7Jz1aoHOET5G1PubHrpqAPndcaVRuXGlUAYGMTF8/YiBJuPAqC2nm2jnUKS6h41pTIgtbNiooTABDdJSqPBGpweYri9bs9555tupOIgZ1Az3xWXEaqmYINCkIp/HBPZE/gViUTUGojEr2JaTV+/oclv2m822uSWRgCdg8IVqBi3AjdGV1JZhTqEzKgEYDqSAVACgURs180X157C92tJeYIxUzBNKjaBzgwFLqkkqypkBtqObpjmzk2otu/ie77Nm6yqxso35xVt73fjoH89cNggqQ8Ek8pKBQ0TWuScRURhyrvzgdk1qXacqwVhTaF4EmlAUUxJqdpzp1QNlsmlNYsrOdKHG1kUUhSTUcxGcZc4vRK19zFbBYh0ZuVRysm1p011XO2nmMu8s+qWGAppXQ7DAS/Je7HEpWqiagH20hkXjk/dDRO7MdcLW0pFTa6JNCInry4NWMZXfczxuBwbq4eU4vVBRJy7KHUMpzal0Fw/WVUBJUNgxGvVF1dS2W3JkAHlHFQbckknzCBSVUhLRUUpCiKqOWInp16o6ODN1D8/iSKcUhRPSoFI9JPVFLC5XVlxN192be23hKEFpt4L8hdbU04rCMgpKq5EpUcqUCXKbzlXYOoWtJlKkJKF8W82caHC4lFKimYSshQNNa9G6GJOslYI1G7WnsgdmZAJUCENkp0qKkdCRHSlBPkQqvNQyJ6AdO33mkNOszaVVwkJWCChdRQELG0eFrWAGWmHFrxs4sQNARWopoAYZlrWaJnEy4aKUrjMtKYimlR059Ijrsi7DUuKJA7Ixh6cailvdO30Tv8AUe2SoyTSW39ibfYc4yiwrEDWh1rrWCN2wnmwhSSlasOMhFVqQBhIx1TSvKA1NSDBdfiyEFpLwTRaDhrvSquR6DSnSd8UEje9xpOEoS6RQJKy4EpCajlJSoBR59+esQ1oqE8rPV4CpVr4ZV6K1bakr9xXzTbylrU+SVoHKxqFaBQFBoFHlDICsbLy2umYLYaSvkpw0UakrJ0SST0R2vX0dUcgRlQgrJb/AMWiSMW3QqPoprulI8ZMJNOS3yyeceCPxUPUY1g8zyLmWqycKTr1IqPDTtbqrevGx1G4jqWwQ43xlM0lJpi2pDlT24YuWbgtLaRiU4lxI5RSuqSo68lYI5qimkXhjrYOUdRYamtbHhK3a2LrwUJz0TvyX2ByWsadlj+QfQ4n5iwpBI3E8pJ66Rby9uJPJmEKlnN55TSj9VYyHRXqjuJjmmmErSpChVKhQj+9sY4GX/5u32IPaXPSqr/czngUoxChB0KSCD1+2FvwiWmtcmpKgaY0+YmkESbJm2ioNvIU1SqEqFDirovmIJzFejbFLwmMUk1H66PSYypScfiVjWUIKaySuhWNaRnGDWkRbgERExnEjUh/MVGW2mtNtIIbwXUXLAOA8YyqlFgUpXNIWNldh0PmgDG5H6ykvvLPrUw150/nMr+1Mf7l6FTcf9ZSX3ln1qYab5/OJTpf/wBy9ADQZ8EdA9ESIz4I6B6IkAaL4/o7v2Tnq1QOcIvyFqfc2PXTUEd8f0d37Jz1aoHeEX5C1PubHrpqAPnVcalRtVGpUAFUz+rZr73L+rm4EFQXzX6tmvvkv6qbgQMZYCm48spSZgpNAkIqN9cfsjrTMYlEE0pl00jhuU8QHwDQEIr1Y42W9KBOaFUrr0mEIuUrS2JY1HSWaG4Qyl58DdG1DXppnRUVtoLK3CqtaknTXPWAySm+LdTi0ChUbwFCsGE5QKO4E9lYoYuEYtZUex/xyq6yqym9rfW54G+enUIsrIkeM4wVFUtlaanMqSUkADadYqZZWLPPo2b4JboWZxz9CDQJJJzyNMs9h17IrU4uU1E9HjZxWDqVNlZhQL6MtsllxRD+EEJwnOqaih0pAJaNpKLuMnXZGF9HngtLOErebWQhQTqyQaBShuVp0mNdl3ImnyC6cCdw17Y6DozrSi3sj5zHE0cNRnCLvKX2OeZtkqUQNDlFxwe3rRZanXZht4h6iUJRgzw5lSsShpkB+0YKrKuOy1QkAkb8zHHf67gXLpW2PkjiUKDNBHKUCRVNNTTUa6CLCwyzZvA5HGWyRZjhvkF+EH2+ZTKVedCjlGocLFmKNC6RzlhVOziznAUjgnmnWeNwoSSMSWyohxQIqNlEqpsJ6aQun04FFJBqDTMUIIyII2EHKN3w27wlf162N7S5oc9rcKckXmkMqcKa/lHwjCAklPISFUOGoBJI0qACTUF6XAQCCCCKgg1BBzBB3R832dJKeVhTQKKVFI3lKSrD0nDQc5EPa5r+KRY24U4K7+KUW6/wxtBKMnZavX5aEFVaGN9HwmUXXaUhP7WIHPmoDC3UmDu+1p4UBlNDizXnoAapHWRXqgUdspxKUrU2oJUKpUUmhFQKg9JHbHMxks1XTkfRP8boSp4JOemZtq/lr9P55lYR/fshh3Vs/ipcEiinOUd9P8A7M+uA5FiuLbW4kUSjXYSMjVIPhAAgmnzhvhjIySBuA9A3RLgYXk5M5/8AlGIcaUaMXo3r5W0+qZkox0sHKOJa6RmzPJw1rHVbS3PBxTex2KMa1KjlmbQCU4tkCnwmVx9FHkmIJV0tEWI0JNXLu2LVLRFM60FN2tTX+9IFuEqdJk6EUqpB7KxZWxayKJpmQoE8wgNv3b5mEUAohJGe8xDGTlG8nr3E/DUWrLzA9s0EdNgWaJiYbaUopSokqUBUhKUlaqA6miTSu2OZsZR02DaQl5hDpTiCScSa0JSpJSoA7DRRplrAyWtmy0hMPNsoRNIU6tLaVqeZWEqWQlKlIDKSoVIqAoZQxLBZS/ItIcFUraCFdmGvmB6hC7s+bkJd5t5Cppa2lpcShSGUJUpBCkhSwtRAqBUgaQw7CeDEi2teSUNBauzFTpqadYgABuWyU2rKJOqZptJ6UugH0QzCqr0kd/HHtmHoWlyXSu1pRR1VNNqPSXQYZI+Vkeh3170ANVnwR0D0RIjPgjoHoiQBovj+jufZuerVA7wi/IWp9zY9dMwRXx/R3Ps1+rVA9wifIWp9zY9dNQB86rjSqNqo1KgC2mLdBlXGAk1deQ6omlEhtDqQkDbUuk15hFIYyMYmACa5EgXi6kGmSf8A50gtnbpYWSFZkDWKHgzQavkbA36XIYkpNY1BK9DHMni3TxHDe2lvM9JhMFTrYWM7a63+bFLaN3AlNRHbaTakNoxaqbSrqUkEdcOaTuuzQ1ANYX/CbYyZdWJBohSdNyhlRPNF7EUnkUn3kXZ2Np0K1WKdoyX1Xpg5YhK8SQCTXIU1yEFdhXnMg28C2VOKKMCdATiwkHdkrWBG7Lxam2xj+UQQa7FKTUeeL+8rBWynixRxDqOUQQSTXLoqIqU2qVdO+m/9l7E9qrEYGVFx01W+t90/DYKrNtxqYeONGF3KqTqmume2CB18IG6B6x7MIIdWPyigMR6BSLG028aNdY6ccTTqXdN3PEUI8aWWGtjGQtsOOFI2GOu0XkYFJX4KgQegihjisqyENpxp1Ov/AOxutFhDlEq27OmI44qErrZ7FinhKlSq4QWxeydppcaS5UZ9Weh88IDhUsri59xxNOLfJcRTqC67jjxf2YbV67IeZQiWYSeUoJBBAFCqqlKOyKG811kvsMpVmWVDM15STk4DTPOgPUIqUZZXLNpa9upbxVWEYwTauxO2bMLQ6hbfyiVBSaAmpSagUGZ0htXIt5SJUNOpKFNqIAII5CzjTrnliI6o3m7TLbam0pCRSpIFCRzkR3WddVlhhBTkMs1HWpJzJypmcoyu0Ixtdb6IixGGyOMb3cnp68zokrviYWZh5xSRQcWlJFU00WSQQN4Tz1yjmatVKVzCJh7GlCkqNQMTwp+TLh1WARQI0rmdkdFt2zxDJWpaSCaIAIII6hmeisKRy01Ozdc+WcO2mennoeqI03KTaPQ0cTJONKb00iulrbO2nphDaN5Hpl7i21YMyhG0qQaVDm8U3aUO8wcys+EoAOwADqFIG7IsMS4UvwnqcpRpkQM0I+anzmLSwUVSXHNKdQrnFvC0qtSfw7d5w+0sdTlHLbRPTrf1/dzrbm1PkpQNI1Ku46Ea0zHZWN1lT6eNcU2MiYtXrYIFKV3x5zF4zE0MU4Q+JHSp4HNh1OK5XAu9N4S0EMJBxEQIWhaJbUCvqpzxf3qnUKXxtM06VigmmRMIDh13R6WnNVIKc1Z9xyeHKLyxOX33U6TTSOeaWVS7hNclpFesxY2dKZqoKbI7LZlkN2etIHKxoz3ipjaOV6GJRklmYHNaRHG6xGtIzgRmpDGYqcttNac0EFv3qcmQEAcWymmFANa0ySVnaRu0EUkSAL64H60kvvLX+sQzVCj0j+y7692FpwffrSS+8N/6xDOmRSZk/wBl317sANBnwR0D0RIjPgjoHoiQBovj+jufZr9WqB/hFH5C0/uTPrpqCC+X6O59mv8A0Kii4RR+b2l9ya8z0zAHzguNRjauNSoAwMYmMjGJgAu4P57iuPJNAeLB6yukHsxaiFIGHJULO7dPc83Xc36XIpWLfeQQQ4TTYcxHNxOBdSXEi7N/wd/s7tSlRgqdWL02a6959C3anSpJxqFRAnwozSFKQ2oFQpiBB3kilOqFrNX2mFCiVcXvwk5x0WbbbjyFJdVjKTUEiqqHKld1fTFuMpxwyjU/UhSWHrdot07ZZJ8ra2Cy7djILhmiiqQnkIOeaBnn1RZSlplxxAUylKFqyNFHlAVFCTE4PJwvHiKgBulQaZhecV9pOGWmFhxRPEqI6k1AoNg0yinXUmnpurFrCUaVSGMpNapNrws0Hk/PpQ1XmgXdmHFpNF5RXWtedpxk0VoIBXL3uYCgZV2xV7PoSpqyjZX1PLdiulTjVdXSVvh8RnyForSjNVQDQxYiZS4pCgoZHPPdCesq8bgBQo1Bgjund6efq42qjedMVc+iOyqLrOUHHTkXcHiuBWz96sxv3in8L9cSKJBJ5XKGWJIw0qK5bY4ZSZC0ZiNPCIh1Ejx5QMbbLQVQglJUtsOUJz2ntgHY4T0MtoAbxqJAVnSg2nnPNFHG0Ks3HIlp97/g4eKpznP4VdFvfG0gyc65JqE6A1HJJO7mHPHFM2st4Nox4AlIIzoCtSU0BVs11OQzgzTMs2m2yhoocJQM8NeLoOXjBFUUOVDSuzWAS8diqlZniX3EpCuVxlapKCTmAc65EU39sRQo5oppXd/rs/rzPbdkVqF+JXaThHS/fbV+S5dehzzay4yQ4CC2vUZBWRBqNCoUpXWhz0Ect1GGxOY1UKW0FdTv0HnIjovZeBhaUsy55KR4ROprUlR2k5k9MDtlzvFOqKvAUnCroJBNN5yyi5w3SqXeu38FTEYt4xOMPhTv5X5hc/bgLuGtEKOe6Le8Fpoblk8WRsr0bYB7VUkNocSQUrChTalSSMjvyIIPTujKz5Ja0flFZbBzR1KWIjCLV9HszkvsyvUqcNQcpR3t90MSy35dLAONIUeffHFbN5mWBkoKJ3UMLe3kFS0MtnXPsjmnbJWyipUDv3xzq2DoSxirRn5W0udKjPGww04yp6R0b7i/tR9EysJGmp3dEapZ4cpCRyUfyyyi1s0shlvCK5Cppu9MWd1rvpemFhNMOpy2mLSs58NO5FLBV40FinGy/g9mLNZYkQpRAWqh561jkv7Z6RZaXEDLGjPmNYu7e4NCtXGKfJSmlEbIx4TRhsgoCaBK2u2qhF6dK0W0uRyM09EJdrSM4wa0jOOeSEiRIkAEPB2P+qyX3hHphnzv6VJ/suetdhY8HI/6rJfbo9MM+eH51J/sK9Y4YAZrPgjoHoiRGvBHQPREgDTe9NZdz7Nfq1RRcISqy1oc8ig9Qdf9sFdtS2Nsp2KBSehQKf5wHWh+ccUyrIzkg8yPt2sBwnrUv8JgD51XGlUb3myklKhRQJBB1BBoQeuNCoAxjExlGJgC8u+Ky80BuR/9kDZl1fNPYYO+DVrEXxQHJGvS5BsJBHi0+aOfXx6pTyW2K062WTVhGcSdx7IvLmymKbbStt1baqhwNpJXgoakCmw0MNf3tT4tHYIzVK0QtKAEcYnApSRRWAkEpB2VpQ81RES7RhLSSsvXQ3pYx05qaWwFy06w1ajbkuHEMcjECrErkVCsVN5oaQVX7t5E5LrShLaGXlAId4ol5x1NCoDTdhNaZVjdLWWE1JCVEnXCE0AAAGUV8zdXGVAuu8UpZUpoKGDlAUAyqnQ1oc67ILtCnez5bMn9vXEnJK2ZW3b8/HxFC6wRpUgioNCB/daxr4o7j2Q8pWxmm0hCW0gDTKvPmT0xt9wI8UnsEY96R/1KntHchJ2dJLWtKUpJKiAMjmSaCPpm7divMSiQ22CUpGRVgx6YsFQdlaFVKmmgzgRVZqVjCkBtRFEqAzSo+CrLZWleasXPw5nFSgmC2w3WtGFLWHHKEA4FkZKUUqwihBxCucdDCY+Mot25+vmSU5yndrQF7/LnBxpK3HpaZSW0IIw+5VN0cKHUgUBFPCrmNuVIVqmTmKUOng6Z9GsMmznzPiYemHXSJkisu2vChKGlUaSoqyxhSBs0xak5XZaQSTgRmanIbTWK2JxdLD1XCKuvwJ1XFK+4tLgXqMjOtqVyUcYA4c/AUMLgoNUkUNDoUgiMr4Xhcnppx4hQTUhpPzWweSOk6nnMX9v3eSiYbdYQtbilBwjAFsZBQIrTkrTQVSa1qCKwUFpsaoAO5QAUOYg7RGJdoQjBSSumKryWfeJ1TZ3GN8lIlw4TUZVBocobZDfzUdgjku9Y7L7k0DLFa+OAQ6plx5hCcA5CkNuIKDU1xZ5RPhcRHFNxWllf6maGJy1E7eV9+gupGReQotlsuN1oaZgaGv1emCy3rLbly2kTLeF0Ym1KVhNBQELqKJIOWtDBBO3Yl22yUNMuziWXFBlJXxDgRNOJcdRysThQhIo3UZZ5mB280vKNy7bjDZK52jqQupEs0k4VtNmvKJdCuUf8IHTF6ODUnq/p+TqQ7Yr0bqCVtVrvZ9dHpy8SonrCLD7SirEpYJ6tlOaKu3HFFzCfBABp6YbtlWIhyTSpLCUrDayp15twoURiOJDyXAEZCgBTqI65yzrPExxC0tpJcaCQhLqVJBAUsPOKOAg1pydKxSzfFmSR1XTkqMsNnk3dttK+2mvxee4JLu2gSCXUrzAByOoi24NZQJU6oqIGQqeYGLeXsZqgVMy7TDgD54sYygtNtpUhxTYUSaKqKgivZGtcnLomQ2JdpSVSynSujnFqWltSwWOWeQcga7QdIlhVyVFNL18jbLnwzw825PdStyXJfFZ7cgUvBaxNpMMMPrW2VjGK1FQa0i14Vx/0xzP/ANRr0qiys6yW35UOIlm2llC1KW404WjSpBadDnIAAoAoHMbdoDfKYJs8AqURiRkeuJZdoL9Ml+rY4uLwyw6/Vd3ta1u/q+4XrWkZxg1pGcalMkSJEgAl4NE1taS+2B7AowzZw1mpSnzFf61iATgflK2kl5Xycq24+s7BRBSnzq80H1gsl6Ylz82XSo9LpxjzDzwAymk8kdA9ESOxEtkOiJAHQ+3iSRC1v3JONoS40aLYe49o7lKycR0KNFU21UIZ0cFp2Wl1JCgCCKEHQg7DACUvNcwWqgz9ngccf0qWqAoO0zU3XI11pt1GdRCun5FxlRQ6hbahqlaSk9igId8zc+bkXy/IrrXwm1mhUmtcOI8lfXQ+eLIcIywMM5IuCm9orT1EAiAPnPGN47Y8KhvHbH0YL82af+0R1y6e7Hqr5Wb9Eb8gnuwAk7m3iZlS6XSrlhNMIB8EqrXMb4J08JEp/wCX8H/KGF8MbN+hs/u47kefC2zfobP7sO5FSrgoVZZpXuQypRk7sABwkyn/AJfwDvR78ZUn/wCX8A70MAXpsz6Gz+7J7keG9dlfRJf92T3Ii93UuvryMcCAAfGVJ7nfwDvR78ZUnud/AO9B78KrJ+iS/wC7J7ke/CiyPost+7p7kPd1Lr68hwIAF8ZUlud/AO9Hnxlye5zyae9B4q9NkfRZb93T/TjE3osj6LKfu6f6cPd1Lr68hwIgKeEiS+a75NPejEcIshTwHOji00zNTli3wcm9Nk/RZP8Adx/TjMXmsf6NJ+QT/TjPu6mub+f4M8GIBI4QbPHgoWOhlA9CoyHCNI/Nc8mO9B8LxWN4iS8gnuRn7/2L4mS8ijuQ930+vzMcCIAjhLktzvkx3o8+MmR3O+THeg/9/rE8TI+RR3I9FuWJ4mQ8k33Ie76fX5jgRAA8Jclud8mnvRxPXysxaipTSypWZPF5k8/Lhme/dieKkPJN92ILasPxUh5JvuxvDBRg7xlJeDHAiLD4V2V4hXkx5uXGIvTZXiVeT/5w0xa1h+KkPJN92Mhadh+KkPJN92JOA/8Aef7mZ4ERZfDmzvmL8mO/HhvxZ/zF+THfhoGfsPxUh5JvuRj76WF4qR8ijuRF7FDvfzLPFq/9Jfuf9iw+HFn/ADHPJjvxDfmQ+Yv8H/KGh752F4qR8gjuR4bUsPxUl5BPch7FDvfzHEq/9Jfuf9ivN97P+Y5+D/lFVeq9ss/LFpoLriSRVIAomu2phye+9h+Jk/3cf04x9+LD8RKfuw/pxtHCQi1LXTqaSc52zybt3ts+bmjlGVY+jvfuw/o8r+6juRibfsMf9tL9UqjuxbB851iysO7sxOOBEsyt1R2pHJTzqX4KR0mHTaF8bMR+jyEuVfOUw2kdQAqe0RTTt7rQmxxLADbZywtJCEgf5antIEAV01JIkJf3tYcSuZmCDOvpzQ2hGfEoOpSnMk7TXaaBpXJsPDVwpoVUoDqlCUhKE9SUjrrAzcbgvLa+OfOJeoGwUNQTvNc6aDI5mhDVlpcIFBAG2kSPYkASJEiQBrcZCtRHI5ZKToSOgx3xIAG566PGGvGug/VdWnU12GNMvc5SFVD755i6sjrBMFUSAKdNhmnyiu2NC7tqJJ41wV3OLA6hXKL+JAA+m7qwflnOtZPpMdSLFVtcV2xbRIAqzY5+ertjlcu8s6OufjV7YvokADvwcX453yivbHW3Yyhq4vti3iQBWe9B8Yrtjz3nPz1dsWkSAKv3mPz1dsT3m+urti0iQBVe8n1jHhsEfOMW0SAKn3gHzj2x57wJ3nti3iQBUfB8fOMeG7w3mLiJAFN8HU74nwcTvi5iQBS/BtO8xPg2neYuokAD05cxl1OFxIWkGtFZiu+kcQ4NJPxLf4RBdEgARPBpJ+Jb/CI1HgqkTrLt/hgziQALSvBzJt+Cw0P8ifZF1LWK2jwUgdVI74kAYpQBpGUSJAEiRIkAf//Z"/>
          <p:cNvSpPr>
            <a:spLocks noChangeAspect="1" noChangeArrowheads="1"/>
          </p:cNvSpPr>
          <p:nvPr/>
        </p:nvSpPr>
        <p:spPr bwMode="auto">
          <a:xfrm>
            <a:off x="155575" y="-792163"/>
            <a:ext cx="27622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30728" name="AutoShape 4" descr="data:image/jpeg;base64,/9j/4AAQSkZJRgABAQAAAQABAAD/2wCEAAkGBhQSERUUExQWFRQVGBwYFhcYFhYXFxcVFRUVFhUVFBUYHCYfFxkkGRYXIC8gIycpLCwsFx8xNTAqNSYrLCkBCQoKDgwOGg8PGiokHyQ1LC4qKjAtLzAsMC0sKiosLywsLSkpLCwsKiksKS0sLC0pLCkpKSwsLCwsLCksLywtKf/AABEIAK4BIgMBIgACEQEDEQH/xAAcAAACAgMBAQAAAAAAAAAAAAAGBwAFAgMEAQj/xABREAABAgMFAggHCwoFAwUAAAABAgMABBEFBhIhMUFRBxMiYXGBkdIyU5OhsbPRFBUWFzNSVGJzdJIjJDQ1cpSiwdPwQoKytOIlRGNDg8LD4f/EABsBAQACAwEBAAAAAAAAAAAAAAADBAECBQYH/8QANBEAAgECBAMFBwQDAQEAAAAAAAECAxEEEiExE0FhBVFxgfAUFSKRobHhMpLB0QZSU/Ez/9oADAMBAAIRAxEAPwB4xIkeEwB7Eisn7dbaGZED09fsJ2U6aJHaqkAGkeVhar4Sh85HlWu/GPxl/WR5VrvwAzKxKws/jL+sjyzXfj34yfrI8sz34AZdYlYWnxk86PLM9+PfjI+s35ZnvwAyqxKwtPjI+s35Znvx78ZH1m/LM9+AGVWJWFr8Y/1m/LM9+J8Yx3t+WY/qQAyqxKwtfjH52/Lsf1I9+Mb6zfl2P6kAMmsSsLX4xj85vy7H9SPfjFPzm/Lsf1IAZNYlYW/xiHejyzP9SJ8Yh3o8sz34AZFYlYW3xiHe35Zn+pE+MQ72/LM9+AGVErC0+MU72/LM9+IeEQ72/LM9+AGVWPYWfxiHe35Znvx58Yqt6PLM9+AGbHlYWXxiq3o8sz349+MY70eVa78AMysewrZjhPwCqiKaZLQrzJUTHMOF5G+AG3EhUJ4VQd8ZjhS/uo9sANSJCyY4VEE0Ji9s6/7S6AmnTABhEjllLQS4Kgx1QBIkSJAEgdvFboaSc+bLMknRKRtJ/kSaAEi6nnsKCYXVvSq5gJQg0cmXlS7R2IZbBVNv03koKRzBI/xQBRyqZu03lIYUW20nlrB0roOM1KjuTQdOp7nbn2VKn87nGeM2hTgUrrFa+aBa/t9hLg2dZxLTDVUuuJNFvOaLqsZ0rkSNTzACFkqAHwmcu6MvdDR6l92J7uu549rsX3YQhjFRgB+e7buePa7F92IZm7n0hr+PuwkLJ4vH+VSFJyyJI9BEbLe9z8YkMoCU7aFR9JMbqLavc1b1sOhTt3PpDX8fdjHFdz6S1/F3YCbBuhKutBSmwTT5yx6FRum7sSKEH8iMW/G53o2yNbi65Blxl3PpDX8Xdj3jbu/SGv4u7ChmLJaTU4MtmavbGhmRZJzSO1XtivxDoTwMowzZo+HP7DmDt3fpDP8AF7I9x3d+kMfxeyFhZ1gSy1gFAoT85XegvPB1JYMmxX9tzvRJTvUvYo1Fw7Zi/Iu54+X/AIvZGCmbuH/uJfzwvLTuW0hRwgU6Ve2LCSu/IholxgKVvxuj0KjWcstySNKUkmkFypO7v0mX7DHiZG7v0mX/AIoXgsiXJVSXFNnKc0/FFLaFjBOYRQV3nTtjCncOk0OD3Jd76TL/AMXtie47u/SZb+L2womLGbUkcnPbmfbFpJ3VbIzar1q9sM5ZjgZvW6QyfcV3fpMt2n2x77ju79Ilu0+2FPNXeSlR/J0HSr2x2WbY0sojGgU/aV7YOViGFCU9hme5Lu+Plu0x6JO7vjpX8aoE7Su7ZyWqoZBXT57mv4oHl3Zbw4w0OjEr2xBDEKeyZPHAzlHNdevIaPua7vjZP8So89y3d8bKfjV7YTltSrSEjA0kHbmvLtVGlmz21NhVADuqfbE0ZXVytKnldrodPuS7vjZTyivbE9xXd8dKeUX7YW8pcrjUYksbNar9sUUxZKWllDrdD0nzZxvyuI03J2TQ5fcN3vHyvll96PDZ13fpEv5ZfehTsycsRTixi/aX7Yp7bYbRQITQ9JPpMCG+th2my7vfSmPLK9seGzLv/TGR/wC5CGZ0jOBkdj9gWMo/krSl0n6yh6cQjjnLhTCUF2TdbmmxmeJWFn8H8gSYT8ddl2s9LOBxhxTSxopBp1HYRzHKAGldO/TjbmBdaJ8LXk54eUDmnOg6TTdDpsi1A8gEGEfLW2i0mvdvFpE7KU92ISAEzUorkLcw/OCSQeb/AC0ObnTZYfXLlWJKTVB3tqzQSd9MuqAGREjALiQBUXitANpFSK0UoCoqeLQVmg25CB2ac9zcvbJ2YtQ+0dIqrpJY85iwvqMjzNPedhQitv2aN2nzSDQ7XJuAPnJwk5nMnU7ydTGkxtXGpUAYGMTGRjFUAb5GUKzzDUxptNIx0SawV8H0shxTyV0zCKdq6xjeC7raZoYTlSpHojNtLmVJNqCXmWdy3nA3hJyjhvFNLU6lCM6nZ/OOuz5oNqpUU9ME1kWQhxCyCAtQISTsJ0jXPm08WSZMr+VgOMuleBOIEnccgdM92caTY5DlCKDb0wazd0JZCwriVFQUlOMOpzURXHhJyAI0i1tGyW0DEaE0FdNaaxDRlxFeJalGMJJVRaTDBacScRAgzsZ1TtBirlnArP2aXn6V5IPbBbZrSZehr/YjZVoQmk+ZNLByqwlKnstjmvDJlBCa6xY2Fd4LRmawH3uvTidFNI6bq3lfccwMtOO7whCl4dxOEZDpi3GnBVLPZnLnWm6fw7oKLQuk4qoaWhAArVQJrrkKaaawM2hduYSpHHKQuqsGIVHIVriBA0Oh30hhe5HlpKnmXEISUk8rCcQUKAhKsVOUcqUgdsyWDjimwlSuMJqlaySo1qPCNEjoinXqOFZxjtyLdCjGdBTlo+bKez7pLbUQrQQV2RMtYSk0qnIx1vzuBXFuNqbUdApJGzZsI6I53rAQ2FOjLFmYzhq8p3U42IpwnKLyt2BS9VrtkFKRVSdeaB9q1WeLFfCppGdqT7SVrpQkmCK61321yqXUsNLWsqzdqQnCcsKdKUGtNTG9ScY3k0ZpKekYsGZW0wpfNsiym7bwowgR0XjkEISAWmmnqlQW1UIcTWlAk+CfNlFEyoLBFc9KRmMlOFkjEVaqs70OWaWMQUo8k680eTSGkqTRQwkgmOK05dSGs9p/nFdIMYlVIqIwtTaslGVu8+jbv2k17nQUgEUhScK1opcmU4BSmsW1n2uZWUxeFlv80B84h+fcxJbIHm7YuTTUbPmUYtZtDZdiwHZlRWk5CPb1XbcbTxqvBBCeswyOD+7q5Zii9TrGHCqgCzlU8Y36VRmVOmoX52NFVk5WE01pGcYNaRnFQsEiRIkAFXBfOYLTYQfAfxS7g3oeSUUP+bCeqGc26UTMorapgJVzqaOA+cKhR3GNLTkvvLXrEw2p/wCXlP2nx2TDsYAz238h0RI0NeCOgeiJGQVl9PBV9k96pUVfCB8lan3Fn1s3FrfRJwk0NOJeqdg/JGlTFRwh/I2p9yY9dNRkHzquNRjauNSowDAxiqMjGKoAvLrulPGFOvJ9KolspUpypUanLni04PEJPugq2BHnK43W5ZGJYXXTqhGEnIn40OFka1XM23Pug5MrwlWBCUlS3DngSNTzmCyXn5BjJtUw6rEnlKwpRQKFSEjPSusc9nccxZsw4GyW3W6YwRyUpUUqKknOhrSogYaXUA74p1qs4PLax6zsnsjD4i86ju1ayT6X1+1g1mbEdenUtFtQTUq4xO6lUqTsOVM445yQJQVpmm30pzKalDoA1JbVrTmMc0veNwSimhMuA4qBumXF0zHGajP/AA1pHAJNSCypQGBzTMVpochprGlOagssFoZq9iqUZyrTs1fLbnZN8+/pfZ6s1yDCnVqKRkPTGu12XkiqqhMMKyrDSy0Cka5mKa+UwgMkGmcS1W4VFHKeWo1bRdmLD4PuzUw0y0MS3FBI3AHVR3ACpJ3Ax9I3VsFqz5ZEqwK4flF5YnFnwlq5zsGwADZCmuU6WWlzAoFghDat1KKURv8A8I7YMLtuTLlpEukCXcbUhTIBw1UnFiUCak1BGuQMZddZ3TdtB7PJx4kVpv4B09LBSFJNeWKYsqjaPPA7YFyuIdLq1hajUJoDQV21Oen84IXnEMoAUug0BWaknUVJ1NPRA03eBSi62FKUorKGykpBKs1IS2sA5dKSKVzjVpU5LXw/Pfbl+Nc041JU5W25/j+QrmbGZda4taAQSVDeFkklaTsVU1gLtSzsTRRXTLsgktyfxMkJUps0BDozSCTkF0OLCa0qN8L2XtcP42+NSl5JUHK1NCDoQB4Xmz12xaTV0u8iipqDs7LmuneCK7CRxuAJxqJ0AqYJZSqZcoQ4tGBeDCBooqBJzplRKhlv1jjti2/cFWG0FD1fyriwKlWqSOamY2Culc4HmLTW4sJW4CCKBThVhSakg1GaRXbzxVr1Myydx3MN2W4QdZPltvf/AN5FnaUkh9aCoqK0q4sVFCpazQKoKADI57aRpsu7obVy8q/3nHbOzrbLZbStDrxILi0EKQgDOiXB4S+cZAVoc8uQXldSaqIXXP8AKISrdmCpNdmyGHrqi/iVySXYlXF0uJCSj0fPqdNsXVDrZCR0RQ2JwdTBriyEG1h3ubdJS4lDVE5UJopdcqA12bKj+UXlk28y6FALSgpOEYiAFnPNs/4hlXZqI6Cq0XFNaHAxOAxdGUlKN7Wu1qtdijs+4CEpAcJUBs2dkEMrZTbYolIEWCkZV2bCMx2iNSom31RyndOzNaoDeFX9XK+0b9JgyVAdwqfq5X2jfpMay2NofqQmmtIzjBrSM4rFskSJEgC6uR+spL7yz61MNy0/0mVH15j/AHL0KO5P6ykvvLPrUw27TP51LftzH+6ejAGSz4I6B6IkRnwR0D0RIyDRfEfm7n2Tnq1QO8IfyNqfcmPXTUEV8f0dz7Jz1aoHOET5G1PubHrpqAPndcaVRuXGlUAYGMTF8/YiBJuPAqC2nm2jnUKS6h41pTIgtbNiooTABDdJSqPBGpweYri9bs9555tupOIgZ1Az3xWXEaqmYINCkIp/HBPZE/gViUTUGojEr2JaTV+/oclv2m822uSWRgCdg8IVqBi3AjdGV1JZhTqEzKgEYDqSAVACgURs180X157C92tJeYIxUzBNKjaBzgwFLqkkqypkBtqObpjmzk2otu/ie77Nm6yqxso35xVt73fjoH89cNggqQ8Ek8pKBQ0TWuScRURhyrvzgdk1qXacqwVhTaF4EmlAUUxJqdpzp1QNlsmlNYsrOdKHG1kUUhSTUcxGcZc4vRK19zFbBYh0ZuVRysm1p011XO2nmMu8s+qWGAppXQ7DAS/Je7HEpWqiagH20hkXjk/dDRO7MdcLW0pFTa6JNCInry4NWMZXfczxuBwbq4eU4vVBRJy7KHUMpzal0Fw/WVUBJUNgxGvVF1dS2W3JkAHlHFQbckknzCBSVUhLRUUpCiKqOWInp16o6ODN1D8/iSKcUhRPSoFI9JPVFLC5XVlxN192be23hKEFpt4L8hdbU04rCMgpKq5EpUcqUCXKbzlXYOoWtJlKkJKF8W82caHC4lFKimYSshQNNa9G6GJOslYI1G7WnsgdmZAJUCENkp0qKkdCRHSlBPkQqvNQyJ6AdO33mkNOszaVVwkJWCChdRQELG0eFrWAGWmHFrxs4sQNARWopoAYZlrWaJnEy4aKUrjMtKYimlR059Ijrsi7DUuKJA7Ixh6cailvdO30Tv8AUe2SoyTSW39ibfYc4yiwrEDWh1rrWCN2wnmwhSSlasOMhFVqQBhIx1TSvKA1NSDBdfiyEFpLwTRaDhrvSquR6DSnSd8UEje9xpOEoS6RQJKy4EpCajlJSoBR59+esQ1oqE8rPV4CpVr4ZV6K1bakr9xXzTbylrU+SVoHKxqFaBQFBoFHlDICsbLy2umYLYaSvkpw0UakrJ0SST0R2vX0dUcgRlQgrJb/AMWiSMW3QqPoprulI8ZMJNOS3yyeceCPxUPUY1g8zyLmWqycKTr1IqPDTtbqrevGx1G4jqWwQ43xlM0lJpi2pDlT24YuWbgtLaRiU4lxI5RSuqSo68lYI5qimkXhjrYOUdRYamtbHhK3a2LrwUJz0TvyX2ByWsadlj+QfQ4n5iwpBI3E8pJ66Rby9uJPJmEKlnN55TSj9VYyHRXqjuJjmmmErSpChVKhQj+9sY4GX/5u32IPaXPSqr/czngUoxChB0KSCD1+2FvwiWmtcmpKgaY0+YmkESbJm2ioNvIU1SqEqFDirovmIJzFejbFLwmMUk1H66PSYypScfiVjWUIKaySuhWNaRnGDWkRbgERExnEjUh/MVGW2mtNtIIbwXUXLAOA8YyqlFgUpXNIWNldh0PmgDG5H6ykvvLPrUw150/nMr+1Mf7l6FTcf9ZSX3ln1qYab5/OJTpf/wBy9ADQZ8EdA9ESIz4I6B6IkAaL4/o7v2Tnq1QOcIvyFqfc2PXTUEd8f0d37Jz1aoHeEX5C1PubHrpqAPnVcalRtVGpUAFUz+rZr73L+rm4EFQXzX6tmvvkv6qbgQMZYCm48spSZgpNAkIqN9cfsjrTMYlEE0pl00jhuU8QHwDQEIr1Y42W9KBOaFUrr0mEIuUrS2JY1HSWaG4Qyl58DdG1DXppnRUVtoLK3CqtaknTXPWAySm+LdTi0ChUbwFCsGE5QKO4E9lYoYuEYtZUex/xyq6yqym9rfW54G+enUIsrIkeM4wVFUtlaanMqSUkADadYqZZWLPPo2b4JboWZxz9CDQJJJzyNMs9h17IrU4uU1E9HjZxWDqVNlZhQL6MtsllxRD+EEJwnOqaih0pAJaNpKLuMnXZGF9HngtLOErebWQhQTqyQaBShuVp0mNdl3ImnyC6cCdw17Y6DozrSi3sj5zHE0cNRnCLvKX2OeZtkqUQNDlFxwe3rRZanXZht4h6iUJRgzw5lSsShpkB+0YKrKuOy1QkAkb8zHHf67gXLpW2PkjiUKDNBHKUCRVNNTTUa6CLCwyzZvA5HGWyRZjhvkF+EH2+ZTKVedCjlGocLFmKNC6RzlhVOziznAUjgnmnWeNwoSSMSWyohxQIqNlEqpsJ6aQun04FFJBqDTMUIIyII2EHKN3w27wlf162N7S5oc9rcKckXmkMqcKa/lHwjCAklPISFUOGoBJI0qACTUF6XAQCCCCKgg1BBzBB3R832dJKeVhTQKKVFI3lKSrD0nDQc5EPa5r+KRY24U4K7+KUW6/wxtBKMnZavX5aEFVaGN9HwmUXXaUhP7WIHPmoDC3UmDu+1p4UBlNDizXnoAapHWRXqgUdspxKUrU2oJUKpUUmhFQKg9JHbHMxks1XTkfRP8boSp4JOemZtq/lr9P55lYR/fshh3Vs/ipcEiinOUd9P8A7M+uA5FiuLbW4kUSjXYSMjVIPhAAgmnzhvhjIySBuA9A3RLgYXk5M5/8AlGIcaUaMXo3r5W0+qZkox0sHKOJa6RmzPJw1rHVbS3PBxTex2KMa1KjlmbQCU4tkCnwmVx9FHkmIJV0tEWI0JNXLu2LVLRFM60FN2tTX+9IFuEqdJk6EUqpB7KxZWxayKJpmQoE8wgNv3b5mEUAohJGe8xDGTlG8nr3E/DUWrLzA9s0EdNgWaJiYbaUopSokqUBUhKUlaqA6miTSu2OZsZR02DaQl5hDpTiCScSa0JSpJSoA7DRRplrAyWtmy0hMPNsoRNIU6tLaVqeZWEqWQlKlIDKSoVIqAoZQxLBZS/ItIcFUraCFdmGvmB6hC7s+bkJd5t5Cppa2lpcShSGUJUpBCkhSwtRAqBUgaQw7CeDEi2teSUNBauzFTpqadYgABuWyU2rKJOqZptJ6UugH0QzCqr0kd/HHtmHoWlyXSu1pRR1VNNqPSXQYZI+Vkeh3170ANVnwR0D0RIjPgjoHoiQBovj+jufZuerVA7wi/IWp9zY9dMwRXx/R3Ps1+rVA9wifIWp9zY9dNQB86rjSqNqo1KgC2mLdBlXGAk1deQ6omlEhtDqQkDbUuk15hFIYyMYmACa5EgXi6kGmSf8A50gtnbpYWSFZkDWKHgzQavkbA36XIYkpNY1BK9DHMni3TxHDe2lvM9JhMFTrYWM7a63+bFLaN3AlNRHbaTakNoxaqbSrqUkEdcOaTuuzQ1ANYX/CbYyZdWJBohSdNyhlRPNF7EUnkUn3kXZ2Np0K1WKdoyX1Xpg5YhK8SQCTXIU1yEFdhXnMg28C2VOKKMCdATiwkHdkrWBG7Lxam2xj+UQQa7FKTUeeL+8rBWynixRxDqOUQQSTXLoqIqU2qVdO+m/9l7E9qrEYGVFx01W+t90/DYKrNtxqYeONGF3KqTqmume2CB18IG6B6x7MIIdWPyigMR6BSLG028aNdY6ccTTqXdN3PEUI8aWWGtjGQtsOOFI2GOu0XkYFJX4KgQegihjisqyENpxp1Ov/AOxutFhDlEq27OmI44qErrZ7FinhKlSq4QWxeydppcaS5UZ9Weh88IDhUsri59xxNOLfJcRTqC67jjxf2YbV67IeZQiWYSeUoJBBAFCqqlKOyKG811kvsMpVmWVDM15STk4DTPOgPUIqUZZXLNpa9upbxVWEYwTauxO2bMLQ6hbfyiVBSaAmpSagUGZ0htXIt5SJUNOpKFNqIAII5CzjTrnliI6o3m7TLbam0pCRSpIFCRzkR3WddVlhhBTkMs1HWpJzJypmcoyu0Ixtdb6IixGGyOMb3cnp68zokrviYWZh5xSRQcWlJFU00WSQQN4Tz1yjmatVKVzCJh7GlCkqNQMTwp+TLh1WARQI0rmdkdFt2zxDJWpaSCaIAIII6hmeisKRy01Ozdc+WcO2mennoeqI03KTaPQ0cTJONKb00iulrbO2nphDaN5Hpl7i21YMyhG0qQaVDm8U3aUO8wcys+EoAOwADqFIG7IsMS4UvwnqcpRpkQM0I+anzmLSwUVSXHNKdQrnFvC0qtSfw7d5w+0sdTlHLbRPTrf1/dzrbm1PkpQNI1Ku46Ea0zHZWN1lT6eNcU2MiYtXrYIFKV3x5zF4zE0MU4Q+JHSp4HNh1OK5XAu9N4S0EMJBxEQIWhaJbUCvqpzxf3qnUKXxtM06VigmmRMIDh13R6WnNVIKc1Z9xyeHKLyxOX33U6TTSOeaWVS7hNclpFesxY2dKZqoKbI7LZlkN2etIHKxoz3ipjaOV6GJRklmYHNaRHG6xGtIzgRmpDGYqcttNac0EFv3qcmQEAcWymmFANa0ySVnaRu0EUkSAL64H60kvvLX+sQzVCj0j+y7692FpwffrSS+8N/6xDOmRSZk/wBl317sANBnwR0D0RIjPgjoHoiQBovj+jufZr9WqB/hFH5C0/uTPrpqCC+X6O59mv8A0Kii4RR+b2l9ya8z0zAHzguNRjauNSoAwMYmMjGJgAu4P57iuPJNAeLB6yukHsxaiFIGHJULO7dPc83Xc36XIpWLfeQQQ4TTYcxHNxOBdSXEi7N/wd/s7tSlRgqdWL02a6959C3anSpJxqFRAnwozSFKQ2oFQpiBB3kilOqFrNX2mFCiVcXvwk5x0WbbbjyFJdVjKTUEiqqHKld1fTFuMpxwyjU/UhSWHrdot07ZZJ8ra2Cy7djILhmiiqQnkIOeaBnn1RZSlplxxAUylKFqyNFHlAVFCTE4PJwvHiKgBulQaZhecV9pOGWmFhxRPEqI6k1AoNg0yinXUmnpurFrCUaVSGMpNapNrws0Hk/PpQ1XmgXdmHFpNF5RXWtedpxk0VoIBXL3uYCgZV2xV7PoSpqyjZX1PLdiulTjVdXSVvh8RnyForSjNVQDQxYiZS4pCgoZHPPdCesq8bgBQo1Bgjund6efq42qjedMVc+iOyqLrOUHHTkXcHiuBWz96sxv3in8L9cSKJBJ5XKGWJIw0qK5bY4ZSZC0ZiNPCIh1Ejx5QMbbLQVQglJUtsOUJz2ntgHY4T0MtoAbxqJAVnSg2nnPNFHG0Ks3HIlp97/g4eKpznP4VdFvfG0gyc65JqE6A1HJJO7mHPHFM2st4Nox4AlIIzoCtSU0BVs11OQzgzTMs2m2yhoocJQM8NeLoOXjBFUUOVDSuzWAS8diqlZniX3EpCuVxlapKCTmAc65EU39sRQo5oppXd/rs/rzPbdkVqF+JXaThHS/fbV+S5dehzzay4yQ4CC2vUZBWRBqNCoUpXWhz0Ect1GGxOY1UKW0FdTv0HnIjovZeBhaUsy55KR4ROprUlR2k5k9MDtlzvFOqKvAUnCroJBNN5yyi5w3SqXeu38FTEYt4xOMPhTv5X5hc/bgLuGtEKOe6Le8Fpoblk8WRsr0bYB7VUkNocSQUrChTalSSMjvyIIPTujKz5Ja0flFZbBzR1KWIjCLV9HszkvsyvUqcNQcpR3t90MSy35dLAONIUeffHFbN5mWBkoKJ3UMLe3kFS0MtnXPsjmnbJWyipUDv3xzq2DoSxirRn5W0udKjPGww04yp6R0b7i/tR9EysJGmp3dEapZ4cpCRyUfyyyi1s0shlvCK5Cppu9MWd1rvpemFhNMOpy2mLSs58NO5FLBV40FinGy/g9mLNZYkQpRAWqh561jkv7Z6RZaXEDLGjPmNYu7e4NCtXGKfJSmlEbIx4TRhsgoCaBK2u2qhF6dK0W0uRyM09EJdrSM4wa0jOOeSEiRIkAEPB2P+qyX3hHphnzv6VJ/suetdhY8HI/6rJfbo9MM+eH51J/sK9Y4YAZrPgjoHoiRGvBHQPREgDTe9NZdz7Nfq1RRcISqy1oc8ig9Qdf9sFdtS2Nsp2KBSehQKf5wHWh+ccUyrIzkg8yPt2sBwnrUv8JgD51XGlUb3myklKhRQJBB1BBoQeuNCoAxjExlGJgC8u+Ky80BuR/9kDZl1fNPYYO+DVrEXxQHJGvS5BsJBHi0+aOfXx6pTyW2K062WTVhGcSdx7IvLmymKbbStt1baqhwNpJXgoakCmw0MNf3tT4tHYIzVK0QtKAEcYnApSRRWAkEpB2VpQ81RES7RhLSSsvXQ3pYx05qaWwFy06w1ajbkuHEMcjECrErkVCsVN5oaQVX7t5E5LrShLaGXlAId4ol5x1NCoDTdhNaZVjdLWWE1JCVEnXCE0AAAGUV8zdXGVAuu8UpZUpoKGDlAUAyqnQ1oc67ILtCnez5bMn9vXEnJK2ZW3b8/HxFC6wRpUgioNCB/daxr4o7j2Q8pWxmm0hCW0gDTKvPmT0xt9wI8UnsEY96R/1KntHchJ2dJLWtKUpJKiAMjmSaCPpm7divMSiQ22CUpGRVgx6YsFQdlaFVKmmgzgRVZqVjCkBtRFEqAzSo+CrLZWleasXPw5nFSgmC2w3WtGFLWHHKEA4FkZKUUqwihBxCucdDCY+Mot25+vmSU5yndrQF7/LnBxpK3HpaZSW0IIw+5VN0cKHUgUBFPCrmNuVIVqmTmKUOng6Z9GsMmznzPiYemHXSJkisu2vChKGlUaSoqyxhSBs0xak5XZaQSTgRmanIbTWK2JxdLD1XCKuvwJ1XFK+4tLgXqMjOtqVyUcYA4c/AUMLgoNUkUNDoUgiMr4Xhcnppx4hQTUhpPzWweSOk6nnMX9v3eSiYbdYQtbilBwjAFsZBQIrTkrTQVSa1qCKwUFpsaoAO5QAUOYg7RGJdoQjBSSumKryWfeJ1TZ3GN8lIlw4TUZVBocobZDfzUdgjku9Y7L7k0DLFa+OAQ6plx5hCcA5CkNuIKDU1xZ5RPhcRHFNxWllf6maGJy1E7eV9+gupGReQotlsuN1oaZgaGv1emCy3rLbly2kTLeF0Ym1KVhNBQELqKJIOWtDBBO3Yl22yUNMuziWXFBlJXxDgRNOJcdRysThQhIo3UZZ5mB280vKNy7bjDZK52jqQupEs0k4VtNmvKJdCuUf8IHTF6ODUnq/p+TqQ7Yr0bqCVtVrvZ9dHpy8SonrCLD7SirEpYJ6tlOaKu3HFFzCfBABp6YbtlWIhyTSpLCUrDayp15twoURiOJDyXAEZCgBTqI65yzrPExxC0tpJcaCQhLqVJBAUsPOKOAg1pydKxSzfFmSR1XTkqMsNnk3dttK+2mvxee4JLu2gSCXUrzAByOoi24NZQJU6oqIGQqeYGLeXsZqgVMy7TDgD54sYygtNtpUhxTYUSaKqKgivZGtcnLomQ2JdpSVSynSujnFqWltSwWOWeQcga7QdIlhVyVFNL18jbLnwzw825PdStyXJfFZ7cgUvBaxNpMMMPrW2VjGK1FQa0i14Vx/0xzP/ANRr0qiys6yW35UOIlm2llC1KW404WjSpBadDnIAAoAoHMbdoDfKYJs8AqURiRkeuJZdoL9Ml+rY4uLwyw6/Vd3ta1u/q+4XrWkZxg1pGcalMkSJEgAl4NE1taS+2B7AowzZw1mpSnzFf61iATgflK2kl5Xycq24+s7BRBSnzq80H1gsl6Ylz82XSo9LpxjzDzwAymk8kdA9ESOxEtkOiJAHQ+3iSRC1v3JONoS40aLYe49o7lKycR0KNFU21UIZ0cFp2Wl1JCgCCKEHQg7DACUvNcwWqgz9ngccf0qWqAoO0zU3XI11pt1GdRCun5FxlRQ6hbahqlaSk9igId8zc+bkXy/IrrXwm1mhUmtcOI8lfXQ+eLIcIywMM5IuCm9orT1EAiAPnPGN47Y8KhvHbH0YL82af+0R1y6e7Hqr5Wb9Eb8gnuwAk7m3iZlS6XSrlhNMIB8EqrXMb4J08JEp/wCX8H/KGF8MbN+hs/u47kefC2zfobP7sO5FSrgoVZZpXuQypRk7sABwkyn/AJfwDvR78ZUn/wCX8A70MAXpsz6Gz+7J7keG9dlfRJf92T3Ii93UuvryMcCAAfGVJ7nfwDvR78ZUnud/AO9B78KrJ+iS/wC7J7ke/CiyPost+7p7kPd1Lr68hwIAF8ZUlud/AO9Hnxlye5zyae9B4q9NkfRZb93T/TjE3osj6LKfu6f6cPd1Lr68hwIgKeEiS+a75NPejEcIshTwHOji00zNTli3wcm9Nk/RZP8Adx/TjMXmsf6NJ+QT/TjPu6mub+f4M8GIBI4QbPHgoWOhlA9CoyHCNI/Nc8mO9B8LxWN4iS8gnuRn7/2L4mS8ijuQ930+vzMcCIAjhLktzvkx3o8+MmR3O+THeg/9/rE8TI+RR3I9FuWJ4mQ8k33Ie76fX5jgRAA8Jclud8mnvRxPXysxaipTSypWZPF5k8/Lhme/dieKkPJN92ILasPxUh5JvuxvDBRg7xlJeDHAiLD4V2V4hXkx5uXGIvTZXiVeT/5w0xa1h+KkPJN92Mhadh+KkPJN92JOA/8Aef7mZ4ERZfDmzvmL8mO/HhvxZ/zF+THfhoGfsPxUh5JvuRj76WF4qR8ijuRF7FDvfzLPFq/9Jfuf9iw+HFn/ADHPJjvxDfmQ+Yv8H/KGh752F4qR8gjuR4bUsPxUl5BPch7FDvfzHEq/9Jfuf9ivN97P+Y5+D/lFVeq9ss/LFpoLriSRVIAomu2phye+9h+Jk/3cf04x9+LD8RKfuw/pxtHCQi1LXTqaSc52zybt3ts+bmjlGVY+jvfuw/o8r+6juRibfsMf9tL9UqjuxbB851iysO7sxOOBEsyt1R2pHJTzqX4KR0mHTaF8bMR+jyEuVfOUw2kdQAqe0RTTt7rQmxxLADbZywtJCEgf5antIEAV01JIkJf3tYcSuZmCDOvpzQ2hGfEoOpSnMk7TXaaBpXJsPDVwpoVUoDqlCUhKE9SUjrrAzcbgvLa+OfOJeoGwUNQTvNc6aDI5mhDVlpcIFBAG2kSPYkASJEiQBrcZCtRHI5ZKToSOgx3xIAG566PGGvGug/VdWnU12GNMvc5SFVD755i6sjrBMFUSAKdNhmnyiu2NC7tqJJ41wV3OLA6hXKL+JAA+m7qwflnOtZPpMdSLFVtcV2xbRIAqzY5+ertjlcu8s6OufjV7YvokADvwcX453yivbHW3Yyhq4vti3iQBWe9B8Yrtjz3nPz1dsWkSAKv3mPz1dsT3m+urti0iQBVe8n1jHhsEfOMW0SAKn3gHzj2x57wJ3nti3iQBUfB8fOMeG7w3mLiJAFN8HU74nwcTvi5iQBS/BtO8xPg2neYuokAD05cxl1OFxIWkGtFZiu+kcQ4NJPxLf4RBdEgARPBpJ+Jb/CI1HgqkTrLt/hgziQALSvBzJt+Cw0P8ifZF1LWK2jwUgdVI74kAYpQBpGUSJAEiRIkAf//Z"/>
          <p:cNvSpPr>
            <a:spLocks noChangeAspect="1" noChangeArrowheads="1"/>
          </p:cNvSpPr>
          <p:nvPr/>
        </p:nvSpPr>
        <p:spPr bwMode="auto">
          <a:xfrm>
            <a:off x="155575" y="-792163"/>
            <a:ext cx="2762250" cy="1657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GB" altLang="en-US"/>
          </a:p>
        </p:txBody>
      </p:sp>
      <p:grpSp>
        <p:nvGrpSpPr>
          <p:cNvPr id="30729" name="Group 34"/>
          <p:cNvGrpSpPr>
            <a:grpSpLocks/>
          </p:cNvGrpSpPr>
          <p:nvPr/>
        </p:nvGrpSpPr>
        <p:grpSpPr bwMode="auto">
          <a:xfrm>
            <a:off x="439738" y="1643063"/>
            <a:ext cx="5135562" cy="3571875"/>
            <a:chOff x="508660" y="1500178"/>
            <a:chExt cx="5420662" cy="3857632"/>
          </a:xfrm>
        </p:grpSpPr>
        <p:sp>
          <p:nvSpPr>
            <p:cNvPr id="30" name="Rectangle 29"/>
            <p:cNvSpPr/>
            <p:nvPr/>
          </p:nvSpPr>
          <p:spPr>
            <a:xfrm>
              <a:off x="572334" y="1786499"/>
              <a:ext cx="214481" cy="3070676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pic>
          <p:nvPicPr>
            <p:cNvPr id="3073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660" y="1500178"/>
              <a:ext cx="5420662" cy="3857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ectangle 12"/>
            <p:cNvSpPr/>
            <p:nvPr/>
          </p:nvSpPr>
          <p:spPr>
            <a:xfrm>
              <a:off x="3258368" y="2004242"/>
              <a:ext cx="365287" cy="2019685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727544" y="2004242"/>
              <a:ext cx="365287" cy="1683642"/>
            </a:xfrm>
            <a:prstGeom prst="rect">
              <a:avLst/>
            </a:prstGeom>
            <a:noFill/>
            <a:ln w="635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204748" y="4107937"/>
              <a:ext cx="1238291" cy="33947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GB" sz="800" dirty="0">
                  <a:latin typeface="+mn-lt"/>
                </a:rPr>
                <a:t>Man U </a:t>
              </a:r>
              <a:r>
                <a:rPr lang="en-GB" sz="800" dirty="0" err="1">
                  <a:latin typeface="+mn-lt"/>
                </a:rPr>
                <a:t>vs</a:t>
              </a:r>
              <a:r>
                <a:rPr lang="en-GB" sz="800" dirty="0">
                  <a:latin typeface="+mn-lt"/>
                </a:rPr>
                <a:t> Liverpool</a:t>
              </a:r>
            </a:p>
            <a:p>
              <a:pPr>
                <a:defRPr/>
              </a:pPr>
              <a:r>
                <a:rPr lang="en-GB" sz="800" dirty="0">
                  <a:latin typeface="+mn-lt"/>
                </a:rPr>
                <a:t>KO 13:30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675600" y="3687884"/>
              <a:ext cx="1288559" cy="33947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GB" sz="800" dirty="0">
                  <a:latin typeface="+mn-lt"/>
                </a:rPr>
                <a:t>Arsenal </a:t>
              </a:r>
              <a:r>
                <a:rPr lang="en-GB" sz="800" dirty="0" err="1">
                  <a:latin typeface="+mn-lt"/>
                </a:rPr>
                <a:t>vs</a:t>
              </a:r>
              <a:r>
                <a:rPr lang="en-GB" sz="800" dirty="0">
                  <a:latin typeface="+mn-lt"/>
                </a:rPr>
                <a:t> Man City</a:t>
              </a:r>
            </a:p>
            <a:p>
              <a:pPr>
                <a:defRPr/>
              </a:pPr>
              <a:r>
                <a:rPr lang="en-GB" sz="800" dirty="0">
                  <a:latin typeface="+mn-lt"/>
                </a:rPr>
                <a:t>KO  16:00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3761057" y="2678041"/>
              <a:ext cx="155834" cy="168021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sp>
          <p:nvSpPr>
            <p:cNvPr id="20" name="Oval 19"/>
            <p:cNvSpPr/>
            <p:nvPr/>
          </p:nvSpPr>
          <p:spPr>
            <a:xfrm>
              <a:off x="3286854" y="2453442"/>
              <a:ext cx="155833" cy="169735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819003" y="2117399"/>
              <a:ext cx="991973" cy="2143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GB" sz="800" dirty="0">
                  <a:latin typeface="+mn-lt"/>
                </a:rPr>
                <a:t>Half Time</a:t>
              </a:r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>
              <a:off x="2346825" y="2285420"/>
              <a:ext cx="867976" cy="214312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/>
            <p:nvPr/>
          </p:nvCxnSpPr>
          <p:spPr>
            <a:xfrm>
              <a:off x="2214451" y="2285420"/>
              <a:ext cx="1501364" cy="428626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/>
            <p:cNvSpPr/>
            <p:nvPr/>
          </p:nvSpPr>
          <p:spPr>
            <a:xfrm rot="5400000">
              <a:off x="3179738" y="249991"/>
              <a:ext cx="284608" cy="292900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72334" y="1875654"/>
              <a:ext cx="214481" cy="2928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sp>
          <p:nvSpPr>
            <p:cNvPr id="33" name="TextBox 32"/>
            <p:cNvSpPr txBox="1"/>
            <p:nvPr/>
          </p:nvSpPr>
          <p:spPr>
            <a:xfrm rot="16200000">
              <a:off x="-877004" y="3183503"/>
              <a:ext cx="3022670" cy="19437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GB" sz="600" dirty="0">
                  <a:latin typeface="+mn-lt"/>
                </a:rPr>
                <a:t>Bandwidth (actual bandwidth removed due to sensitivity)</a:t>
              </a:r>
            </a:p>
          </p:txBody>
        </p:sp>
      </p:grpSp>
      <p:pic>
        <p:nvPicPr>
          <p:cNvPr id="30730" name="Picture 28" descr="http://www.challengertec.com/wp-content/uploads/2010/09/football-main-image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9313" y="2714625"/>
            <a:ext cx="2928937" cy="140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713040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ae59d533fc31f71fe98a1fa0e847f56af333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dkBIFuY0acerCsxmXa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JaUDgmo06zSjFYo9iz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6o4cEztki.imDYeJQg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wUqrUFOEmhOPKf1xZq.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JFZ9_Nbk6ogyVweaAs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x_QXHZuUCqJKnXb9Ol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5UtCytvUWz0GepMbDV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xJnVdTVEOdA11BC5o9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kpjDh3BkuVw097UHYDz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PtLpbpu0Gk4v0I0grB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Y6m4zGDUWIwgeFiOjBm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WqinZkuU.hu9PasCqq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Un0qmJ5EOw87nfvJUO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ERRvjyIkOTafbbYHDe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7Hz_5xb2EmaIq7YrWth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P34ICR5UO_7NyQLNoc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hbpmAsD0.St3qs_D4tL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EXnIsfY0CH1DB7QdsU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XyxoBXPEGf7SbBgTmY2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qSyN7SNUioBukXVV2L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AdpdhHHE.ZA_plhUrb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.Sr76NM0eKhvS0.Y1t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ZqARk0CUGcI4rEbhWpl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A.OGEBykWZdo9Oft2.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6xKSZaAUiXuJKfx9vmP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rUDdM2NkOrGuRGbghJ0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boJzQlCkCo25I164DfA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1sMN.NkStjYXOfUvb9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y2sSK9TUq_JklMK4Kip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M_D7K.VUGJ4CNJUPv3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3s5HSJr0CsGmuW4.Dn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.hb5AriE6sXGru5ROL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x9ul3voEuQI8t4qpzdR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Vi6DoGwkqNAQKW.M12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QXf05rgkC2jx_2SzuYn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Jkf5f4jkKDHNvlxdqr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gMB4fEskSwt9U1Rxjl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CpVr319kSL3lmWKpOP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yAdlIOi0Omsm.J6SHl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YtnwfadEqLumMZ3GNH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ujHLohbkKptQ0aEUr8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YMKSclsEmg9J1ALuRi8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4yFk_kaUuLHjK.rlKv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_Ri0kGZ0u2jG_gziBH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aRC7dStUez0FW6VYzSp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bgl8LSSUGYt5NiRfnlv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_aNR5w7Uam99RN3wAO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pptbKX6Ee_kn00tTra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v37z0eoUebCW8bMznV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vVufqbRU2TZVvlDcUnF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uxGGx6hE6KN6t5d3A8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m7axWBHU2wajHd2AWC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1u7r___0O14JXwo1na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u4LSwxnEizwRYErWoJ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mBWFvQn0uj.e4xgU88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qkkSKvhEy5_WJOpXeq9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52wOo53k.gDzRMADGv5g"/>
</p:tagLst>
</file>

<file path=ppt/theme/theme1.xml><?xml version="1.0" encoding="utf-8"?>
<a:theme xmlns:a="http://schemas.openxmlformats.org/drawingml/2006/main" name="EE_PowerPointTemplate_v29190712">
  <a:themeElements>
    <a:clrScheme name="EE Colour Palette">
      <a:dk1>
        <a:srgbClr val="6D6E71"/>
      </a:dk1>
      <a:lt1>
        <a:sysClr val="window" lastClr="FFFFFF"/>
      </a:lt1>
      <a:dk2>
        <a:srgbClr val="34A1A0"/>
      </a:dk2>
      <a:lt2>
        <a:srgbClr val="F6F4F0"/>
      </a:lt2>
      <a:accent1>
        <a:srgbClr val="34A1A0"/>
      </a:accent1>
      <a:accent2>
        <a:srgbClr val="FFE600"/>
      </a:accent2>
      <a:accent3>
        <a:srgbClr val="F3666B"/>
      </a:accent3>
      <a:accent4>
        <a:srgbClr val="007B85"/>
      </a:accent4>
      <a:accent5>
        <a:srgbClr val="654B8F"/>
      </a:accent5>
      <a:accent6>
        <a:srgbClr val="D6E03D"/>
      </a:accent6>
      <a:hlink>
        <a:srgbClr val="6D6E71"/>
      </a:hlink>
      <a:folHlink>
        <a:srgbClr val="6D6E71"/>
      </a:folHlink>
    </a:clrScheme>
    <a:fontScheme name="EE Fonts">
      <a:majorFont>
        <a:latin typeface="EE Nobblee Regular"/>
        <a:ea typeface=""/>
        <a:cs typeface=""/>
      </a:majorFont>
      <a:minorFont>
        <a:latin typeface="Rubr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Aqua on Yellow">
      <a:srgbClr val="169685"/>
    </a:custClr>
    <a:custClr name="Ivory">
      <a:srgbClr val="EEECE1"/>
    </a:custClr>
  </a:custClrLst>
</a:theme>
</file>

<file path=ppt/theme/theme2.xml><?xml version="1.0" encoding="utf-8"?>
<a:theme xmlns:a="http://schemas.openxmlformats.org/drawingml/2006/main" name="1_EE_PowerPointTemplate_v29190712">
  <a:themeElements>
    <a:clrScheme name="EE Colour Palette">
      <a:dk1>
        <a:srgbClr val="6D6E71"/>
      </a:dk1>
      <a:lt1>
        <a:sysClr val="window" lastClr="FFFFFF"/>
      </a:lt1>
      <a:dk2>
        <a:srgbClr val="34A1A0"/>
      </a:dk2>
      <a:lt2>
        <a:srgbClr val="F6F4F0"/>
      </a:lt2>
      <a:accent1>
        <a:srgbClr val="34A1A0"/>
      </a:accent1>
      <a:accent2>
        <a:srgbClr val="FFE600"/>
      </a:accent2>
      <a:accent3>
        <a:srgbClr val="F3666B"/>
      </a:accent3>
      <a:accent4>
        <a:srgbClr val="007B85"/>
      </a:accent4>
      <a:accent5>
        <a:srgbClr val="654B8F"/>
      </a:accent5>
      <a:accent6>
        <a:srgbClr val="D6E03D"/>
      </a:accent6>
      <a:hlink>
        <a:srgbClr val="6D6E71"/>
      </a:hlink>
      <a:folHlink>
        <a:srgbClr val="6D6E71"/>
      </a:folHlink>
    </a:clrScheme>
    <a:fontScheme name="EE Fonts">
      <a:majorFont>
        <a:latin typeface="EE Nobblee Regular"/>
        <a:ea typeface=""/>
        <a:cs typeface=""/>
      </a:majorFont>
      <a:minorFont>
        <a:latin typeface="Rubr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Aqua on Yellow">
      <a:srgbClr val="169685"/>
    </a:custClr>
    <a:custClr name="Ivory">
      <a:srgbClr val="EEECE1"/>
    </a:custClr>
  </a:custClrLst>
</a:theme>
</file>

<file path=ppt/theme/theme3.xml><?xml version="1.0" encoding="utf-8"?>
<a:theme xmlns:a="http://schemas.openxmlformats.org/drawingml/2006/main" name="2_EE_PowerPointTemplate_v29190712">
  <a:themeElements>
    <a:clrScheme name="EE Colour Palette">
      <a:dk1>
        <a:srgbClr val="6D6E71"/>
      </a:dk1>
      <a:lt1>
        <a:sysClr val="window" lastClr="FFFFFF"/>
      </a:lt1>
      <a:dk2>
        <a:srgbClr val="34A1A0"/>
      </a:dk2>
      <a:lt2>
        <a:srgbClr val="F6F4F0"/>
      </a:lt2>
      <a:accent1>
        <a:srgbClr val="34A1A0"/>
      </a:accent1>
      <a:accent2>
        <a:srgbClr val="FFE600"/>
      </a:accent2>
      <a:accent3>
        <a:srgbClr val="F3666B"/>
      </a:accent3>
      <a:accent4>
        <a:srgbClr val="007B85"/>
      </a:accent4>
      <a:accent5>
        <a:srgbClr val="654B8F"/>
      </a:accent5>
      <a:accent6>
        <a:srgbClr val="D6E03D"/>
      </a:accent6>
      <a:hlink>
        <a:srgbClr val="6D6E71"/>
      </a:hlink>
      <a:folHlink>
        <a:srgbClr val="6D6E71"/>
      </a:folHlink>
    </a:clrScheme>
    <a:fontScheme name="EE Fonts">
      <a:majorFont>
        <a:latin typeface="EE Nobblee Regular"/>
        <a:ea typeface=""/>
        <a:cs typeface=""/>
      </a:majorFont>
      <a:minorFont>
        <a:latin typeface="Rubr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Aqua on Yellow">
      <a:srgbClr val="169685"/>
    </a:custClr>
    <a:custClr name="Ivory">
      <a:srgbClr val="EEECE1"/>
    </a:custClr>
  </a:custClrLst>
</a:theme>
</file>

<file path=ppt/theme/theme4.xml><?xml version="1.0" encoding="utf-8"?>
<a:theme xmlns:a="http://schemas.openxmlformats.org/drawingml/2006/main" name="3_EE_PowerPointTemplate_v29190712">
  <a:themeElements>
    <a:clrScheme name="EE Colour Palette">
      <a:dk1>
        <a:srgbClr val="6D6E71"/>
      </a:dk1>
      <a:lt1>
        <a:sysClr val="window" lastClr="FFFFFF"/>
      </a:lt1>
      <a:dk2>
        <a:srgbClr val="34A1A0"/>
      </a:dk2>
      <a:lt2>
        <a:srgbClr val="F6F4F0"/>
      </a:lt2>
      <a:accent1>
        <a:srgbClr val="34A1A0"/>
      </a:accent1>
      <a:accent2>
        <a:srgbClr val="FFE600"/>
      </a:accent2>
      <a:accent3>
        <a:srgbClr val="F3666B"/>
      </a:accent3>
      <a:accent4>
        <a:srgbClr val="007B85"/>
      </a:accent4>
      <a:accent5>
        <a:srgbClr val="654B8F"/>
      </a:accent5>
      <a:accent6>
        <a:srgbClr val="D6E03D"/>
      </a:accent6>
      <a:hlink>
        <a:srgbClr val="6D6E71"/>
      </a:hlink>
      <a:folHlink>
        <a:srgbClr val="6D6E71"/>
      </a:folHlink>
    </a:clrScheme>
    <a:fontScheme name="EE Fonts">
      <a:majorFont>
        <a:latin typeface="EE Nobblee Regular"/>
        <a:ea typeface=""/>
        <a:cs typeface=""/>
      </a:majorFont>
      <a:minorFont>
        <a:latin typeface="Rubr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custClrLst>
    <a:custClr name="Aqua on Yellow">
      <a:srgbClr val="169685"/>
    </a:custClr>
    <a:custClr name="Ivory">
      <a:srgbClr val="EEECE1"/>
    </a:custClr>
  </a:custClrLst>
</a:theme>
</file>

<file path=ppt/theme/theme5.xml><?xml version="1.0" encoding="utf-8"?>
<a:theme xmlns:a="http://schemas.openxmlformats.org/drawingml/2006/main" name="Office Theme">
  <a:themeElements>
    <a:clrScheme name="EE Colours">
      <a:dk1>
        <a:srgbClr val="6D6E71"/>
      </a:dk1>
      <a:lt1>
        <a:sysClr val="window" lastClr="FFFFFF"/>
      </a:lt1>
      <a:dk2>
        <a:srgbClr val="34A1A0"/>
      </a:dk2>
      <a:lt2>
        <a:srgbClr val="EEECE1"/>
      </a:lt2>
      <a:accent1>
        <a:srgbClr val="34A1A0"/>
      </a:accent1>
      <a:accent2>
        <a:srgbClr val="FFE600"/>
      </a:accent2>
      <a:accent3>
        <a:srgbClr val="007B85"/>
      </a:accent3>
      <a:accent4>
        <a:srgbClr val="D6E03D"/>
      </a:accent4>
      <a:accent5>
        <a:srgbClr val="654B8F"/>
      </a:accent5>
      <a:accent6>
        <a:srgbClr val="F3666B"/>
      </a:accent6>
      <a:hlink>
        <a:srgbClr val="6D6E71"/>
      </a:hlink>
      <a:folHlink>
        <a:srgbClr val="6D6E71"/>
      </a:folHlink>
    </a:clrScheme>
    <a:fontScheme name="EE Fonts">
      <a:majorFont>
        <a:latin typeface="EE Nobblee Regular"/>
        <a:ea typeface=""/>
        <a:cs typeface=""/>
      </a:majorFont>
      <a:minorFont>
        <a:latin typeface="Rubr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EE Colours">
      <a:dk1>
        <a:srgbClr val="6D6E71"/>
      </a:dk1>
      <a:lt1>
        <a:sysClr val="window" lastClr="FFFFFF"/>
      </a:lt1>
      <a:dk2>
        <a:srgbClr val="34A1A0"/>
      </a:dk2>
      <a:lt2>
        <a:srgbClr val="EEECE1"/>
      </a:lt2>
      <a:accent1>
        <a:srgbClr val="34A1A0"/>
      </a:accent1>
      <a:accent2>
        <a:srgbClr val="FFE600"/>
      </a:accent2>
      <a:accent3>
        <a:srgbClr val="007B85"/>
      </a:accent3>
      <a:accent4>
        <a:srgbClr val="D6E03D"/>
      </a:accent4>
      <a:accent5>
        <a:srgbClr val="654B8F"/>
      </a:accent5>
      <a:accent6>
        <a:srgbClr val="F3666B"/>
      </a:accent6>
      <a:hlink>
        <a:srgbClr val="6D6E71"/>
      </a:hlink>
      <a:folHlink>
        <a:srgbClr val="6D6E71"/>
      </a:folHlink>
    </a:clrScheme>
    <a:fontScheme name="EE Fonts">
      <a:majorFont>
        <a:latin typeface="EE Nobblee Regular"/>
        <a:ea typeface=""/>
        <a:cs typeface=""/>
      </a:majorFont>
      <a:minorFont>
        <a:latin typeface="Rubri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E_PowerPointTemplate_v29190712</Template>
  <TotalTime>0</TotalTime>
  <Words>1033</Words>
  <Application>Microsoft Office PowerPoint</Application>
  <PresentationFormat>On-screen Show (16:10)</PresentationFormat>
  <Paragraphs>261</Paragraphs>
  <Slides>16</Slides>
  <Notes>16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rial</vt:lpstr>
      <vt:lpstr>ＭＳ Ｐゴシック</vt:lpstr>
      <vt:lpstr>EE Nobblee Regular</vt:lpstr>
      <vt:lpstr>EE Nobblee Light</vt:lpstr>
      <vt:lpstr>Rubrik Regular</vt:lpstr>
      <vt:lpstr>Helvetica 55 Roman</vt:lpstr>
      <vt:lpstr>Wingdings</vt:lpstr>
      <vt:lpstr>Rubrik Light</vt:lpstr>
      <vt:lpstr>EE_PowerPointTemplate_v29190712</vt:lpstr>
      <vt:lpstr>1_EE_PowerPointTemplate_v29190712</vt:lpstr>
      <vt:lpstr>2_EE_PowerPointTemplate_v29190712</vt:lpstr>
      <vt:lpstr>3_EE_PowerPointTemplate_v29190712</vt:lpstr>
      <vt:lpstr>LTE as a Video &amp; TV Distribution Network</vt:lpstr>
      <vt:lpstr>Mobile Network Capabilities</vt:lpstr>
      <vt:lpstr>LTE - UK is becoming a global leader</vt:lpstr>
      <vt:lpstr>Forecast Mobile Data &amp; Video Demand for U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1-20T15:31:18Z</dcterms:created>
  <dcterms:modified xsi:type="dcterms:W3CDTF">2014-01-20T16:28:19Z</dcterms:modified>
</cp:coreProperties>
</file>